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9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95" r:id="rId3"/>
  </p:sldMasterIdLst>
  <p:notesMasterIdLst>
    <p:notesMasterId r:id="rId35"/>
  </p:notesMasterIdLst>
  <p:sldIdLst>
    <p:sldId id="595" r:id="rId4"/>
    <p:sldId id="2147374306" r:id="rId5"/>
    <p:sldId id="2147374307" r:id="rId6"/>
    <p:sldId id="2147374324" r:id="rId7"/>
    <p:sldId id="2147374323" r:id="rId8"/>
    <p:sldId id="2147374325" r:id="rId9"/>
    <p:sldId id="2147374331" r:id="rId10"/>
    <p:sldId id="2147374326" r:id="rId11"/>
    <p:sldId id="2147374310" r:id="rId12"/>
    <p:sldId id="16668239" r:id="rId13"/>
    <p:sldId id="2147374311" r:id="rId14"/>
    <p:sldId id="2147374314" r:id="rId15"/>
    <p:sldId id="2147374309" r:id="rId16"/>
    <p:sldId id="2147374327" r:id="rId17"/>
    <p:sldId id="2147374329" r:id="rId18"/>
    <p:sldId id="2147374332" r:id="rId19"/>
    <p:sldId id="2147374333" r:id="rId20"/>
    <p:sldId id="2147374300" r:id="rId21"/>
    <p:sldId id="2147374301" r:id="rId22"/>
    <p:sldId id="2147374297" r:id="rId23"/>
    <p:sldId id="2147374298" r:id="rId24"/>
    <p:sldId id="2147374285" r:id="rId25"/>
    <p:sldId id="2147374312" r:id="rId26"/>
    <p:sldId id="2147374316" r:id="rId27"/>
    <p:sldId id="2147374318" r:id="rId28"/>
    <p:sldId id="2147374319" r:id="rId29"/>
    <p:sldId id="2147374320" r:id="rId30"/>
    <p:sldId id="2147374321" r:id="rId31"/>
    <p:sldId id="2147374328" r:id="rId32"/>
    <p:sldId id="2147374330" r:id="rId33"/>
    <p:sldId id="604" r:id="rId34"/>
  </p:sldIdLst>
  <p:sldSz cx="12192000" cy="6858000"/>
  <p:notesSz cx="6858000" cy="9144000"/>
  <p:defaultTextStyle>
    <a:defPPr>
      <a:defRPr lang="zh-S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01D9DA0-72B1-854F-9E5A-784100D6896A}">
          <p14:sldIdLst>
            <p14:sldId id="595"/>
            <p14:sldId id="2147374306"/>
            <p14:sldId id="2147374307"/>
            <p14:sldId id="2147374324"/>
            <p14:sldId id="2147374323"/>
            <p14:sldId id="2147374325"/>
            <p14:sldId id="2147374331"/>
            <p14:sldId id="2147374326"/>
            <p14:sldId id="2147374310"/>
            <p14:sldId id="16668239"/>
            <p14:sldId id="2147374311"/>
            <p14:sldId id="2147374314"/>
            <p14:sldId id="2147374309"/>
            <p14:sldId id="2147374327"/>
            <p14:sldId id="2147374329"/>
            <p14:sldId id="2147374332"/>
            <p14:sldId id="2147374333"/>
            <p14:sldId id="2147374300"/>
            <p14:sldId id="2147374301"/>
            <p14:sldId id="2147374297"/>
            <p14:sldId id="2147374298"/>
            <p14:sldId id="2147374285"/>
            <p14:sldId id="2147374312"/>
          </p14:sldIdLst>
        </p14:section>
        <p14:section name="无标题节" id="{63E64253-ABF8-C64A-AC88-710407E5328E}">
          <p14:sldIdLst>
            <p14:sldId id="2147374316"/>
            <p14:sldId id="2147374318"/>
            <p14:sldId id="2147374319"/>
            <p14:sldId id="2147374320"/>
            <p14:sldId id="2147374321"/>
            <p14:sldId id="2147374328"/>
            <p14:sldId id="2147374330"/>
            <p14:sldId id="60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33B"/>
    <a:srgbClr val="818181"/>
    <a:srgbClr val="FEECEF"/>
    <a:srgbClr val="FFF0DF"/>
    <a:srgbClr val="FFFFE2"/>
    <a:srgbClr val="8ED5A1"/>
    <a:srgbClr val="C00000"/>
    <a:srgbClr val="04A2DE"/>
    <a:srgbClr val="B66A02"/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82"/>
    <p:restoredTop sz="97872"/>
  </p:normalViewPr>
  <p:slideViewPr>
    <p:cSldViewPr snapToGrid="0">
      <p:cViewPr>
        <p:scale>
          <a:sx n="311" d="100"/>
          <a:sy n="311" d="100"/>
        </p:scale>
        <p:origin x="-704" y="-352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F84CEF-CE40-6C4C-A899-E28D8CDC8164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SG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7FAC54-4ABD-FB47-8655-9B14B633B6CC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568774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1140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334C6-EFD9-B95E-95CE-DF9FF6DA9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82377DD-E163-F5A9-7E77-2067307A9E9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108C87-F372-B427-BD99-CF807CAE23D9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 dirty="0"/>
              <a:t>把</a:t>
            </a:r>
            <a:r>
              <a:rPr lang="en-US" altLang="zh-CN" dirty="0"/>
              <a:t>SQL</a:t>
            </a:r>
            <a:r>
              <a:rPr lang="zh-CN" altLang="en-US" dirty="0"/>
              <a:t>的写上</a:t>
            </a:r>
          </a:p>
          <a:p>
            <a:r>
              <a:rPr lang="zh-CN" altLang="en-US" dirty="0"/>
              <a:t>按</a:t>
            </a:r>
            <a:r>
              <a:rPr lang="en-US" altLang="zh-CN" dirty="0" err="1"/>
              <a:t>overrall</a:t>
            </a:r>
            <a:r>
              <a:rPr lang="zh-CN" altLang="en-US" dirty="0"/>
              <a:t>写清楚</a:t>
            </a:r>
          </a:p>
        </p:txBody>
      </p:sp>
    </p:spTree>
    <p:extLst>
      <p:ext uri="{BB962C8B-B14F-4D97-AF65-F5344CB8AC3E}">
        <p14:creationId xmlns:p14="http://schemas.microsoft.com/office/powerpoint/2010/main" val="77181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8FAF61-C853-9A56-5B73-7331740BF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8FC0A89-E4F6-0461-A682-4DF2122AB7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7A9C986-942E-DBEB-B25A-058445E1B2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218842-9D0B-CA20-C33F-5002D08D4A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949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704E31-74F0-E70F-81DC-FF7C855A8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1B79FED-E2D6-1A1B-4BCE-0EEE33C6A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D13E823-26F6-56E9-F2CD-74EAA472E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63AE68-7C2D-BD8E-4465-17477C4195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523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3BECA0-45BD-0CD5-4E8F-2275054AB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EE63E73-3E6E-F187-D907-6FCC7D57C0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B90ECE9-023B-1E2D-3CDA-85DBE82D00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E5A46-0F58-4E13-88C1-F5B55D0403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292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28B71-8684-CE5F-BD55-85BBD1DA37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210A9AA-B9FD-86A6-C440-BC3539302F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4B210E5-5FFE-E1AD-96AA-64E5842CD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5ED144A-A508-CC2C-E453-C05A1EF100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8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56BD-045F-3F02-3004-6A4EBC008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59F4964-FB92-1FF3-8A6C-7EF816957B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F8573A1-13AE-8E28-5EB6-F4FA5ABA0C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20A969A-3F5A-FB71-DC4A-3E554ABB85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253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C1238-DD39-D990-B9B8-6AB57141F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8CE854A-4DEA-9EE8-622A-88CAD9D6AA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0636ABE-4F30-473D-1C2B-CB6C71BCD7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372599E-D09F-F20D-BC94-F44D7A382D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6597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5CB9A-E907-826D-7D15-D2683B0D9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773476-3C5F-BD1C-074A-A0B98EBC0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EA4D040-8C44-FD75-3C04-374BF1BF46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5AA1126-78A7-B0C8-0EA1-0C6765DC0F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7991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95CBF-D49C-DC1E-9BD5-4BBE85A13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DACA2E-9B69-D06F-8216-C8DAADCCF1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7D953DD-887C-1417-0812-EBB699E27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F9DB78-EB97-1B08-1CD0-C0822C8E95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5201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7E436-2B25-C6B5-2232-09BDBFA15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C3726BF-39A6-F90F-FA78-A4E53C9D7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EA1E233-298C-8CBF-8FCC-16B4C95438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EC9C35-D530-4F16-F245-B42A2C60F5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710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744D5-7A07-224A-2317-C0DA32591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18758E3-2FB7-D7A1-1331-B8136CA998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5FC61BE-ADF6-F7E9-B576-A9CA6F934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CF73014-D974-3FEA-FC7F-F43FFCC6BA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9011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A95B0-BA74-7785-F623-BF18071B0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7144F11-EF88-832D-C380-42221E6FF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B944EB8-42BB-8A82-2C1F-45E00B03C0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9B298B9-6720-1F30-50DE-B37A4D6432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0101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72EB4-778E-D38B-E3CF-7EF0CCCF9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0F94B53-69FC-9E0C-724C-6B43FAEBC5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79F4739-A5B5-1C3C-3D8B-3EBAED8C4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14AF247-B31A-C981-EEF9-BB52D3C4E2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5233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DA055-45EB-3A1D-DE1B-B8DBA1081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45FE829-52E1-E8BA-1AEB-A493F463A1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5F46958-7FAA-2CC3-9784-0CDEB96E7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B9D77F-9C8C-11DB-E3E1-447918508A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3978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87C77C-ED34-90BE-0BEC-DCD5E99D2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A9F05C2-D5EC-9797-646F-C931ED1DD3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A6FF038-98F6-91F3-23EB-22D63687F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8011223-D665-E5BD-9762-2FBFDE8C0C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844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CF9C55-AB68-A5BD-CDF8-72A9F6B36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BFAE769-35D2-6EA4-EBE8-037A16B3ED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5FE324A-148C-D07B-30B3-F446327F9B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83C900-EACC-C388-F3BC-733A4FFD4C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6925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7801-1228-2D9E-189D-65F65BD69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4219248-D3A7-EC3A-CCA9-4192B97645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8830DFE-AA47-4377-8843-7332637795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7D9C13D-B9BE-4025-53E1-8549E63F6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4479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C0916-5C40-41D0-9AE3-E9911B67F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6C04FF1-E4ED-FDDF-6F4E-3A0CA8000B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A3A29A0-8114-ABBC-F4A8-75FEEF48E3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500D07A-4D30-1101-3C5F-2F2C507D5F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6025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4C70E2-535B-058B-087D-B5CA16280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EA6FF3F-9FA0-C278-4583-0B7A9D9D4F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9B7B015-152F-764D-4A6B-8A82CF79D2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4202647-FDD5-7B8F-9010-A821FC093C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8576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D5D7C-1E24-F328-C81F-5FE2D4DFD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9342B21-79E4-7394-F0F4-2107542A2F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91BD0CF-3128-571F-C832-E5C32A5160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83017C-1872-7A51-85AC-C75F890C0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831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75D02C-1DB7-638D-D70C-473B2E9F8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56CCE5E-3BAD-C856-ED64-31085D271D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F0A52D0-C741-8E56-5688-622700B712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69A64D-4A5A-338A-6A7E-89C99D98B5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331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826AD-3B79-21D8-2F4B-F81A0AA05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ADE12FC-FF1E-5DF4-B969-944D17B98D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CDCBF27-0791-3395-8CDC-CC68CF716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2221786-24CE-08A5-23A0-EDAFFFDD80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8723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30FC7-2035-9F66-56CD-6B72B4B35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BC482B2-1732-91FD-6001-9748E61994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41ED1B4-5D71-18D3-CBAC-6E2CD73805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CF400A-6782-7945-CCD6-02A7DD6CE7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000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D9B08-3C79-8EF2-8D05-1DCC1F21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79DDEBB-368C-1F5F-AF57-AEBE1F1AF2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2B46522-D69C-48FE-5E8E-F98F89AB4D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036F24D-3120-DFE0-14E3-5F86B99AFA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552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01893-0E16-ADDA-ABF7-034F695EAD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FE63BDB-6F1C-AA24-9020-E62E15D77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143C77F-95C4-8DBE-E11B-2738601ABB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B0FC9D8-504F-E1A4-5B71-05EE3DDBB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744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EB329-A388-245C-12BF-D491BE23D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9684BAF-0D05-2792-365B-4F29A1FB1B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C8442FD-BC20-9309-3CE0-41F0FCD97A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68CBA1-5EC6-3404-531E-E4D5A763A5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670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FB632-D739-6F9F-A297-E81157439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64358CF-0AC4-102A-D49C-D441B2231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2D6D0D9-D90C-3F40-8958-B2E9D9CFF1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A1CE7F-2524-AD4E-9076-15DB7040D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558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12F1-1A47-E74E-5102-A5A68F9DF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3E8B715-8EE0-119E-887A-44FA94EE80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5E047FA-1EA1-272E-4204-1CC0634C2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64EFB0E-7EA2-42CE-28E5-D0801B958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60117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2D908-DC17-6F75-8D9D-D9031AF53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D641B76-328A-E52C-0D7D-65F1B97CE0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D400711-8EC3-F1BE-40E1-D92C3669D3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B80DAAD-AD86-4CAC-7E0C-4295B0952A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74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6F66BF-E093-8232-A686-95E1E7597C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C807153-025B-BE40-3A4E-43B1635E4D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06F2515-233F-7E00-8213-1A8D2D194C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23713BD-1270-FD63-8C83-CDF998DC0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2B77341-51B2-70DB-22DB-D64411A3C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890270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1C618C-7B52-D08E-B796-9576309E0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D0940EF-4AAE-BEC1-91E2-3B4C70DB64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5A6F472-6DF1-6FFD-298F-AC9711DFE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06610CB-D67D-075A-F762-B2A991CD2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B77F8EE-D7F4-C656-5689-9B84B594F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44615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54BDC2A-8C6A-069C-A398-5D39E6196A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3976DF1-5F71-86E0-05F3-14F6B20953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DF16DA-BD63-3A53-E71E-5BA327BAE4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F61306-28B5-19B5-B547-F3858B1B0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019D9E-ADD2-9BF8-46F8-A7C0DEF52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7301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9CA727-A44A-43D0-A198-5FDF189C8F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53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9CA727-A44A-43D0-A198-5FDF189C8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DF3A2FC-46AB-7708-6E0E-14E3E538A7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30B4472-2B0D-491B-B65C-3DD0999F75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1967" y="332656"/>
            <a:ext cx="864096" cy="86409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394016F-DC95-BC3B-DF11-2F915782D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ings in Segoe UI bold 36pt two lines maximum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B207DA4-61EF-46B9-040A-1D879DB942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F170FAC2-6633-6F97-BD98-DA6C147C3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082" y="6032500"/>
            <a:ext cx="2195512" cy="2850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DD.MM.YYYY</a:t>
            </a:r>
            <a:endParaRPr lang="en-SG" dirty="0"/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431387C5-606A-7C7B-53AD-6E56A408A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059" y="6146801"/>
            <a:ext cx="1482119" cy="17072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00" b="0" i="0">
                <a:solidFill>
                  <a:schemeClr val="bg1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Vers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672270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295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A745EF-2DA2-45C4-42D0-F074B8A90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A1CC8C9A-7DE6-1BBC-F6EB-79F15F17F7C2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1264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</p:spTree>
    <p:extLst>
      <p:ext uri="{BB962C8B-B14F-4D97-AF65-F5344CB8AC3E}">
        <p14:creationId xmlns:p14="http://schemas.microsoft.com/office/powerpoint/2010/main" val="1442301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5278E0C-AA82-6D07-B2B9-3AEA1F4AC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</p:spTree>
    <p:extLst>
      <p:ext uri="{BB962C8B-B14F-4D97-AF65-F5344CB8AC3E}">
        <p14:creationId xmlns:p14="http://schemas.microsoft.com/office/powerpoint/2010/main" val="6910654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Graphic 10">
            <a:extLst>
              <a:ext uri="{FF2B5EF4-FFF2-40B4-BE49-F238E27FC236}">
                <a16:creationId xmlns:a16="http://schemas.microsoft.com/office/drawing/2014/main" id="{7D1B808D-59F3-CC2B-9D5D-B845D836BD22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11469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4" name="Graphic 1">
            <a:extLst>
              <a:ext uri="{FF2B5EF4-FFF2-40B4-BE49-F238E27FC236}">
                <a16:creationId xmlns:a16="http://schemas.microsoft.com/office/drawing/2014/main" id="{DEDFF2D4-A8BF-D453-600D-6CBCB40EF7B0}"/>
              </a:ext>
            </a:extLst>
          </p:cNvPr>
          <p:cNvSpPr/>
          <p:nvPr userDrawn="1"/>
        </p:nvSpPr>
        <p:spPr>
          <a:xfrm>
            <a:off x="0" y="2040751"/>
            <a:ext cx="1593842" cy="3746148"/>
          </a:xfrm>
          <a:custGeom>
            <a:avLst/>
            <a:gdLst>
              <a:gd name="connsiteX0" fmla="*/ 1522679 w 1593842"/>
              <a:gd name="connsiteY0" fmla="*/ 1539022 h 3746148"/>
              <a:gd name="connsiteX1" fmla="*/ 1420034 w 1593842"/>
              <a:gd name="connsiteY1" fmla="*/ 979670 h 3746148"/>
              <a:gd name="connsiteX2" fmla="*/ 0 w 1593842"/>
              <a:gd name="connsiteY2" fmla="*/ 0 h 3746148"/>
              <a:gd name="connsiteX3" fmla="*/ 0 w 1593842"/>
              <a:gd name="connsiteY3" fmla="*/ 1079857 h 3746148"/>
              <a:gd name="connsiteX4" fmla="*/ 179939 w 1593842"/>
              <a:gd name="connsiteY4" fmla="*/ 1201632 h 3746148"/>
              <a:gd name="connsiteX5" fmla="*/ 287593 w 1593842"/>
              <a:gd name="connsiteY5" fmla="*/ 1760042 h 3746148"/>
              <a:gd name="connsiteX6" fmla="*/ 0 w 1593842"/>
              <a:gd name="connsiteY6" fmla="*/ 2185003 h 3746148"/>
              <a:gd name="connsiteX7" fmla="*/ 0 w 1593842"/>
              <a:gd name="connsiteY7" fmla="*/ 3746149 h 3746148"/>
              <a:gd name="connsiteX8" fmla="*/ 1522679 w 1593842"/>
              <a:gd name="connsiteY8" fmla="*/ 1539022 h 3746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3842" h="3746148">
                <a:moveTo>
                  <a:pt x="1522679" y="1539022"/>
                </a:moveTo>
                <a:cubicBezTo>
                  <a:pt x="1648792" y="1356215"/>
                  <a:pt x="1602840" y="1105789"/>
                  <a:pt x="1420034" y="979670"/>
                </a:cubicBezTo>
                <a:lnTo>
                  <a:pt x="0" y="0"/>
                </a:lnTo>
                <a:lnTo>
                  <a:pt x="0" y="1079857"/>
                </a:lnTo>
                <a:lnTo>
                  <a:pt x="179939" y="1201632"/>
                </a:lnTo>
                <a:cubicBezTo>
                  <a:pt x="363867" y="1326102"/>
                  <a:pt x="412066" y="1576110"/>
                  <a:pt x="287593" y="1760042"/>
                </a:cubicBezTo>
                <a:lnTo>
                  <a:pt x="0" y="2185003"/>
                </a:lnTo>
                <a:lnTo>
                  <a:pt x="0" y="3746149"/>
                </a:lnTo>
                <a:lnTo>
                  <a:pt x="1522679" y="1539022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722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562754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73A070-C156-B42D-A47F-0BBD64F83F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AD82BD-AE86-A506-8AA6-B0E98F13E6F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2"/>
            <a:ext cx="10703343" cy="399992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</p:spTree>
    <p:extLst>
      <p:ext uri="{BB962C8B-B14F-4D97-AF65-F5344CB8AC3E}">
        <p14:creationId xmlns:p14="http://schemas.microsoft.com/office/powerpoint/2010/main" val="2459333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704848-034F-70C5-4FA1-6C00DD9EE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3D1D68B-EB93-5BD1-7735-C44699B8E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D04BE7E-7301-D8C0-6787-F60D5DA17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C3BF50-1D83-7330-6F2A-B8458A7E9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FA2233-F462-E39E-1994-3DEB40779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866360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56B4907-591B-08E8-431B-D6D67A4C1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73A070-C156-B42D-A47F-0BBD64F83F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AD82BD-AE86-A506-8AA6-B0E98F13E6F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2"/>
            <a:ext cx="10703343" cy="399992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</p:spTree>
    <p:extLst>
      <p:ext uri="{BB962C8B-B14F-4D97-AF65-F5344CB8AC3E}">
        <p14:creationId xmlns:p14="http://schemas.microsoft.com/office/powerpoint/2010/main" val="117346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9CA727-A44A-43D0-A198-5FDF189C8F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53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9CA727-A44A-43D0-A198-5FDF189C8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DF3A2FC-46AB-7708-6E0E-14E3E538A7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30B4472-2B0D-491B-B65C-3DD0999F75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1967" y="332656"/>
            <a:ext cx="864096" cy="86409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394016F-DC95-BC3B-DF11-2F915782D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ings in Segoe UI bold 36pt two lines maximum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B207DA4-61EF-46B9-040A-1D879DB942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F170FAC2-6633-6F97-BD98-DA6C147C3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082" y="6032500"/>
            <a:ext cx="2195512" cy="2850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DD.MM.YYYY</a:t>
            </a:r>
            <a:endParaRPr lang="en-SG" dirty="0"/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431387C5-606A-7C7B-53AD-6E56A408A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059" y="6146801"/>
            <a:ext cx="1482119" cy="17072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00" b="0" i="0">
                <a:solidFill>
                  <a:schemeClr val="bg1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Vers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5142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E13754-7B12-41E3-97EE-631D3D166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0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E13754-7B12-41E3-97EE-631D3D166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88AA5F2-1EB1-A489-224A-57572410AB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251547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2290DB7-51F4-EE5A-7379-E9C784635A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: </a:t>
            </a:r>
            <a:br>
              <a:rPr lang="en-US" dirty="0"/>
            </a:br>
            <a:r>
              <a:rPr lang="en-US" dirty="0"/>
              <a:t>Segoe UI bold 36p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1EC8547-53A7-E005-8245-049C4CAA1D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</p:spTree>
    <p:extLst>
      <p:ext uri="{BB962C8B-B14F-4D97-AF65-F5344CB8AC3E}">
        <p14:creationId xmlns:p14="http://schemas.microsoft.com/office/powerpoint/2010/main" val="681207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n QR Co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1C343F7-179D-4799-90C1-F5F2374D4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43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1C343F7-179D-4799-90C1-F5F2374D4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FCFE196-277A-F0D7-7E75-57DE0E72D6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7D3D87-3E79-4383-7159-B96F4B8318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9244" y="1178416"/>
            <a:ext cx="5258805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can the QR Code </a:t>
            </a:r>
            <a:br>
              <a:rPr lang="en-US" dirty="0"/>
            </a:br>
            <a:r>
              <a:rPr lang="en-US" dirty="0"/>
              <a:t>– Segoe UI bold 30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DC34DA-0251-AD6A-6289-CB65316AEB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245" y="3634224"/>
            <a:ext cx="5258804" cy="7574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.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81DB0F7B-943C-F28E-55CB-B2D57355A1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here if you need them</a:t>
            </a:r>
            <a:endParaRPr lang="en-SG" dirty="0"/>
          </a:p>
        </p:txBody>
      </p:sp>
      <p:sp>
        <p:nvSpPr>
          <p:cNvPr id="5" name="Прямоугольник 13">
            <a:extLst>
              <a:ext uri="{FF2B5EF4-FFF2-40B4-BE49-F238E27FC236}">
                <a16:creationId xmlns:a16="http://schemas.microsoft.com/office/drawing/2014/main" id="{A7A9BE03-3D7B-17FD-C4B8-158370B8DB71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C777E87-AC36-19FB-BB35-E6899A7655DB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927643" y="1392944"/>
            <a:ext cx="3921559" cy="380958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/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AC11095-9021-2290-3A1A-5FF0894A90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27642" y="5320940"/>
            <a:ext cx="3921559" cy="262528"/>
          </a:xfrm>
        </p:spPr>
        <p:txBody>
          <a:bodyPr anchor="t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inkhere.com</a:t>
            </a:r>
          </a:p>
        </p:txBody>
      </p:sp>
    </p:spTree>
    <p:extLst>
      <p:ext uri="{BB962C8B-B14F-4D97-AF65-F5344CB8AC3E}">
        <p14:creationId xmlns:p14="http://schemas.microsoft.com/office/powerpoint/2010/main" val="13478673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n QR Co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52CE3C-4121-47CA-8A04-8640512BE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07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52CE3C-4121-47CA-8A04-8640512BE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6">
            <a:extLst>
              <a:ext uri="{FF2B5EF4-FFF2-40B4-BE49-F238E27FC236}">
                <a16:creationId xmlns:a16="http://schemas.microsoft.com/office/drawing/2014/main" id="{53951BAE-A9FE-E6A7-3BC8-A3C374BB5B19}"/>
              </a:ext>
            </a:extLst>
          </p:cNvPr>
          <p:cNvSpPr/>
          <p:nvPr/>
        </p:nvSpPr>
        <p:spPr>
          <a:xfrm>
            <a:off x="0" y="0"/>
            <a:ext cx="6446572" cy="6858000"/>
          </a:xfrm>
          <a:custGeom>
            <a:avLst/>
            <a:gdLst>
              <a:gd name="connsiteX0" fmla="*/ 2831421 w 6446572"/>
              <a:gd name="connsiteY0" fmla="*/ 0 h 6858000"/>
              <a:gd name="connsiteX1" fmla="*/ 6301423 w 6446572"/>
              <a:gd name="connsiteY1" fmla="*/ 3161633 h 6858000"/>
              <a:gd name="connsiteX2" fmla="*/ 6330620 w 6446572"/>
              <a:gd name="connsiteY2" fmla="*/ 3789572 h 6858000"/>
              <a:gd name="connsiteX3" fmla="*/ 3534880 w 6446572"/>
              <a:gd name="connsiteY3" fmla="*/ 6858000 h 6858000"/>
              <a:gd name="connsiteX4" fmla="*/ 0 w 6446572"/>
              <a:gd name="connsiteY4" fmla="*/ 6858000 h 6858000"/>
              <a:gd name="connsiteX5" fmla="*/ 0 w 6446572"/>
              <a:gd name="connsiteY5" fmla="*/ 4334783 h 6858000"/>
              <a:gd name="connsiteX6" fmla="*/ 496367 w 6446572"/>
              <a:gd name="connsiteY6" fmla="*/ 3791845 h 6858000"/>
              <a:gd name="connsiteX7" fmla="*/ 468226 w 6446572"/>
              <a:gd name="connsiteY7" fmla="*/ 3163849 h 6858000"/>
              <a:gd name="connsiteX8" fmla="*/ 0 w 6446572"/>
              <a:gd name="connsiteY8" fmla="*/ 2735783 h 6858000"/>
              <a:gd name="connsiteX9" fmla="*/ 0 w 6446572"/>
              <a:gd name="connsiteY9" fmla="*/ 0 h 6858000"/>
              <a:gd name="connsiteX10" fmla="*/ 2831421 w 6446572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6572" h="6858000">
                <a:moveTo>
                  <a:pt x="2831421" y="0"/>
                </a:moveTo>
                <a:lnTo>
                  <a:pt x="6301423" y="3161633"/>
                </a:lnTo>
                <a:cubicBezTo>
                  <a:pt x="6482906" y="3326968"/>
                  <a:pt x="6495987" y="3608114"/>
                  <a:pt x="6330620" y="3789572"/>
                </a:cubicBezTo>
                <a:lnTo>
                  <a:pt x="3534880" y="6858000"/>
                </a:lnTo>
                <a:lnTo>
                  <a:pt x="0" y="6858000"/>
                </a:lnTo>
                <a:lnTo>
                  <a:pt x="0" y="4334783"/>
                </a:lnTo>
                <a:lnTo>
                  <a:pt x="496367" y="3791845"/>
                </a:lnTo>
                <a:cubicBezTo>
                  <a:pt x="662007" y="3610655"/>
                  <a:pt x="649408" y="3329496"/>
                  <a:pt x="468226" y="3163849"/>
                </a:cubicBezTo>
                <a:lnTo>
                  <a:pt x="0" y="2735783"/>
                </a:lnTo>
                <a:lnTo>
                  <a:pt x="0" y="0"/>
                </a:lnTo>
                <a:lnTo>
                  <a:pt x="2831421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47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7D3D87-3E79-4383-7159-B96F4B8318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9244" y="1184994"/>
            <a:ext cx="5258805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can the QR Code</a:t>
            </a:r>
            <a:br>
              <a:rPr lang="en-US" dirty="0"/>
            </a:br>
            <a:r>
              <a:rPr lang="en-US" dirty="0"/>
              <a:t>– Segoe UI bold 30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DC34DA-0251-AD6A-6289-CB65316AEB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245" y="3640802"/>
            <a:ext cx="5258804" cy="7574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.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81DB0F7B-943C-F28E-55CB-B2D57355A1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here if you need them</a:t>
            </a:r>
            <a:endParaRPr lang="en-SG" dirty="0"/>
          </a:p>
        </p:txBody>
      </p:sp>
      <p:sp>
        <p:nvSpPr>
          <p:cNvPr id="5" name="Прямоугольник 13">
            <a:extLst>
              <a:ext uri="{FF2B5EF4-FFF2-40B4-BE49-F238E27FC236}">
                <a16:creationId xmlns:a16="http://schemas.microsoft.com/office/drawing/2014/main" id="{A7A9BE03-3D7B-17FD-C4B8-158370B8DB71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C777E87-AC36-19FB-BB35-E6899A7655DB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927643" y="1392944"/>
            <a:ext cx="3921559" cy="380958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9E203FA-EE60-9DA7-5BCE-7D58DE506D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27642" y="5320940"/>
            <a:ext cx="3921559" cy="262528"/>
          </a:xfrm>
        </p:spPr>
        <p:txBody>
          <a:bodyPr anchor="t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inkhere.com</a:t>
            </a:r>
          </a:p>
        </p:txBody>
      </p:sp>
    </p:spTree>
    <p:extLst>
      <p:ext uri="{BB962C8B-B14F-4D97-AF65-F5344CB8AC3E}">
        <p14:creationId xmlns:p14="http://schemas.microsoft.com/office/powerpoint/2010/main" val="4236575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4BBDB7-6B79-4392-80C8-709F4BCEF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534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4BBDB7-6B79-4392-80C8-709F4BCEF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74E07D76-ECEB-D2DA-7827-2B3A9ECE2D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5227094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852F18-73B6-18A9-7C65-F73177CE20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933" y="3079691"/>
            <a:ext cx="3891538" cy="198874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DEBCA57-9255-296A-D4CF-8A78C22FD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933" y="5068437"/>
            <a:ext cx="3891538" cy="7457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IN SEGOE UI 20PT.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8503828-6DDA-18A5-1A86-72E2F0B71A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32" y="6094360"/>
            <a:ext cx="5693069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C6E10CDD-5D25-F8A0-96AA-5BD675087BEC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tx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836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Rever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C516BE-E75D-4FC5-ACA4-AD3CA9B9D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436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C516BE-E75D-4FC5-ACA4-AD3CA9B9D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74E07D76-ECEB-D2DA-7827-2B3A9ECE2D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7092" y="0"/>
            <a:ext cx="6964907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852F18-73B6-18A9-7C65-F73177CE20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933" y="3079691"/>
            <a:ext cx="3891538" cy="198874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DEBCA57-9255-296A-D4CF-8A78C22FD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933" y="5068437"/>
            <a:ext cx="3891538" cy="7457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IN SEGOE UI 20PT.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8503828-6DDA-18A5-1A86-72E2F0B71A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32" y="6094360"/>
            <a:ext cx="5693069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C6E10CDD-5D25-F8A0-96AA-5BD675087BEC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817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D32146-3F61-421C-B6A5-01C9CFD55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43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D32146-3F61-421C-B6A5-01C9CFD55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 descr="Background pattern&#10;&#10;Description automatically generated">
            <a:extLst>
              <a:ext uri="{FF2B5EF4-FFF2-40B4-BE49-F238E27FC236}">
                <a16:creationId xmlns:a16="http://schemas.microsoft.com/office/drawing/2014/main" id="{E5411EDA-CCBE-3B72-FA0E-9A73A6EB93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6525" y="2491235"/>
            <a:ext cx="4736257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2513" y="3443736"/>
            <a:ext cx="4740896" cy="203740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9584" y="2491235"/>
            <a:ext cx="4789885" cy="95250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05" y="3443736"/>
            <a:ext cx="4794576" cy="203740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094360"/>
            <a:ext cx="10706835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733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5544B9-2D99-4583-AC3E-6AAC6110F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73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5544B9-2D99-4583-AC3E-6AAC6110F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10">
            <a:extLst>
              <a:ext uri="{FF2B5EF4-FFF2-40B4-BE49-F238E27FC236}">
                <a16:creationId xmlns:a16="http://schemas.microsoft.com/office/drawing/2014/main" id="{9FCC488D-A8F0-395A-800E-FEAC4BB144FA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6525" y="2491235"/>
            <a:ext cx="4736257" cy="95250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2513" y="3443736"/>
            <a:ext cx="4740896" cy="2037402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9584" y="2491235"/>
            <a:ext cx="4789885" cy="952502"/>
          </a:xfrm>
        </p:spPr>
        <p:txBody>
          <a:bodyPr anchor="b"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05" y="3443736"/>
            <a:ext cx="4794576" cy="2037402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5" y="6094360"/>
            <a:ext cx="1070683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857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E371E4-2CE8-4A56-BFF3-D3CE9F235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62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E371E4-2CE8-4A56-BFF3-D3CE9F235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D54F288-504B-1292-44C8-1CD8D02A77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95114" y="6094360"/>
            <a:ext cx="9384133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DD4CF0B-86F5-8C47-8565-236866BCFE9F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95298" y="2615095"/>
            <a:ext cx="4523767" cy="186001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A646CD6-8A5F-BA4D-15DB-1DDCD2A1D40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995114" y="2615095"/>
            <a:ext cx="4579868" cy="186001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C175A0E-33CE-9B62-D0C2-241DD841B0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0095EFE-0F73-2748-5BEA-EAD2F0F5726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AAAB074-4553-F713-6473-EB3B70CD6ED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44370770-C0BA-F70E-3B26-203F7A6E013A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2C70C6C-752C-48F8-CD8E-7F6EBBB243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06128" y="4475111"/>
            <a:ext cx="4473119" cy="56023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5024F3C-628D-656D-D792-D0DD8B8B34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02116" y="5035341"/>
            <a:ext cx="4477500" cy="941925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0CC1D56-B771-D905-4A13-E120704403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97863" y="4475111"/>
            <a:ext cx="4523767" cy="56023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F182C4B-E89E-B528-5AAC-16EFED38A7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5484" y="5035341"/>
            <a:ext cx="4528198" cy="941925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4" name="Graphic 1">
            <a:extLst>
              <a:ext uri="{FF2B5EF4-FFF2-40B4-BE49-F238E27FC236}">
                <a16:creationId xmlns:a16="http://schemas.microsoft.com/office/drawing/2014/main" id="{789763E6-D634-B41E-31A0-8003E2E958C0}"/>
              </a:ext>
            </a:extLst>
          </p:cNvPr>
          <p:cNvSpPr/>
          <p:nvPr/>
        </p:nvSpPr>
        <p:spPr>
          <a:xfrm>
            <a:off x="0" y="2040751"/>
            <a:ext cx="1593842" cy="3746148"/>
          </a:xfrm>
          <a:custGeom>
            <a:avLst/>
            <a:gdLst>
              <a:gd name="connsiteX0" fmla="*/ 1522679 w 1593842"/>
              <a:gd name="connsiteY0" fmla="*/ 1539022 h 3746148"/>
              <a:gd name="connsiteX1" fmla="*/ 1420034 w 1593842"/>
              <a:gd name="connsiteY1" fmla="*/ 979670 h 3746148"/>
              <a:gd name="connsiteX2" fmla="*/ 0 w 1593842"/>
              <a:gd name="connsiteY2" fmla="*/ 0 h 3746148"/>
              <a:gd name="connsiteX3" fmla="*/ 0 w 1593842"/>
              <a:gd name="connsiteY3" fmla="*/ 1079857 h 3746148"/>
              <a:gd name="connsiteX4" fmla="*/ 179939 w 1593842"/>
              <a:gd name="connsiteY4" fmla="*/ 1201632 h 3746148"/>
              <a:gd name="connsiteX5" fmla="*/ 287593 w 1593842"/>
              <a:gd name="connsiteY5" fmla="*/ 1760042 h 3746148"/>
              <a:gd name="connsiteX6" fmla="*/ 0 w 1593842"/>
              <a:gd name="connsiteY6" fmla="*/ 2185003 h 3746148"/>
              <a:gd name="connsiteX7" fmla="*/ 0 w 1593842"/>
              <a:gd name="connsiteY7" fmla="*/ 3746149 h 3746148"/>
              <a:gd name="connsiteX8" fmla="*/ 1522679 w 1593842"/>
              <a:gd name="connsiteY8" fmla="*/ 1539022 h 3746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3842" h="3746148">
                <a:moveTo>
                  <a:pt x="1522679" y="1539022"/>
                </a:moveTo>
                <a:cubicBezTo>
                  <a:pt x="1648792" y="1356215"/>
                  <a:pt x="1602840" y="1105789"/>
                  <a:pt x="1420034" y="979670"/>
                </a:cubicBezTo>
                <a:lnTo>
                  <a:pt x="0" y="0"/>
                </a:lnTo>
                <a:lnTo>
                  <a:pt x="0" y="1079857"/>
                </a:lnTo>
                <a:lnTo>
                  <a:pt x="179939" y="1201632"/>
                </a:lnTo>
                <a:cubicBezTo>
                  <a:pt x="363867" y="1326102"/>
                  <a:pt x="412066" y="1576110"/>
                  <a:pt x="287593" y="1760042"/>
                </a:cubicBezTo>
                <a:lnTo>
                  <a:pt x="0" y="2185003"/>
                </a:lnTo>
                <a:lnTo>
                  <a:pt x="0" y="3746149"/>
                </a:lnTo>
                <a:lnTo>
                  <a:pt x="1522679" y="1539022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722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1202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8CA5009-776F-C023-648E-99FAC57DA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E951B90-E87E-AC24-68CA-6C153967B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3CAD87A-B5A9-6E2E-0140-2505BBFA4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C89AC4D-53B5-EF19-0E75-02946DE1F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BBFC5E-7103-264D-158A-3222A320D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009356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70F340-F859-4D01-9214-1C15E8973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92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70F340-F859-4D01-9214-1C15E8973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2CA7D81-2087-E45F-72FB-08CCC0A8D9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18" name="Freeform: Shape 16">
            <a:extLst>
              <a:ext uri="{FF2B5EF4-FFF2-40B4-BE49-F238E27FC236}">
                <a16:creationId xmlns:a16="http://schemas.microsoft.com/office/drawing/2014/main" id="{6FC0A511-1D28-382B-6169-73EC0A8FC4CA}"/>
              </a:ext>
            </a:extLst>
          </p:cNvPr>
          <p:cNvSpPr/>
          <p:nvPr userDrawn="1"/>
        </p:nvSpPr>
        <p:spPr>
          <a:xfrm>
            <a:off x="6146983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A9BACE74-CF05-3E8A-F3DD-80F42D8EA0BE}"/>
              </a:ext>
            </a:extLst>
          </p:cNvPr>
          <p:cNvSpPr/>
          <p:nvPr userDrawn="1"/>
        </p:nvSpPr>
        <p:spPr>
          <a:xfrm>
            <a:off x="715845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C9124A-8D09-FB16-112D-6C8A38C76B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682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DD52BC-AA7D-0FA1-697F-9E70F115E6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1682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67E829C-B9D8-CDED-8406-4F7098CC35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02820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612C7C0-9EE4-3FAD-4B9E-9A76DED588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02820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09137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28DFE7-9E75-4187-9967-8051BC123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943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28DFE7-9E75-4187-9967-8051BC123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8">
            <a:extLst>
              <a:ext uri="{FF2B5EF4-FFF2-40B4-BE49-F238E27FC236}">
                <a16:creationId xmlns:a16="http://schemas.microsoft.com/office/drawing/2014/main" id="{C78141E6-E3CB-1528-25FB-8F39C244430F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18" name="Freeform: Shape 16">
            <a:extLst>
              <a:ext uri="{FF2B5EF4-FFF2-40B4-BE49-F238E27FC236}">
                <a16:creationId xmlns:a16="http://schemas.microsoft.com/office/drawing/2014/main" id="{6FC0A511-1D28-382B-6169-73EC0A8FC4CA}"/>
              </a:ext>
            </a:extLst>
          </p:cNvPr>
          <p:cNvSpPr/>
          <p:nvPr userDrawn="1"/>
        </p:nvSpPr>
        <p:spPr>
          <a:xfrm>
            <a:off x="6146983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 algn="l"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A9BACE74-CF05-3E8A-F3DD-80F42D8EA0BE}"/>
              </a:ext>
            </a:extLst>
          </p:cNvPr>
          <p:cNvSpPr/>
          <p:nvPr userDrawn="1"/>
        </p:nvSpPr>
        <p:spPr>
          <a:xfrm>
            <a:off x="715845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C9124A-8D09-FB16-112D-6C8A38C76B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682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DD52BC-AA7D-0FA1-697F-9E70F115E6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1682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67E829C-B9D8-CDED-8406-4F7098CC35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02820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612C7C0-9EE4-3FAD-4B9E-9A76DED588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02820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27068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F6E7C53-CEF1-4021-9A92-F36741C35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0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F6E7C53-CEF1-4021-9A92-F36741C35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818842D-EF71-83F7-339D-C52DCF3BB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6358" y="3429001"/>
            <a:ext cx="2805780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HRE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DC521A0-8503-AD2C-C4C3-466A25709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13977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5735" y="3429001"/>
            <a:ext cx="2805780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/>
              <a:t>POINT TWO</a:t>
            </a:r>
            <a:endParaRPr lang="en-US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3356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97864" y="3429001"/>
            <a:ext cx="2805780" cy="95250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5484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95483" y="6094360"/>
            <a:ext cx="9426655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 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Graphic 4">
            <a:extLst>
              <a:ext uri="{FF2B5EF4-FFF2-40B4-BE49-F238E27FC236}">
                <a16:creationId xmlns:a16="http://schemas.microsoft.com/office/drawing/2014/main" id="{32E2DFA4-2B16-B734-C357-6A75F18B1A8D}"/>
              </a:ext>
            </a:extLst>
          </p:cNvPr>
          <p:cNvSpPr/>
          <p:nvPr userDrawn="1"/>
        </p:nvSpPr>
        <p:spPr>
          <a:xfrm>
            <a:off x="0" y="1343504"/>
            <a:ext cx="12192000" cy="5524789"/>
          </a:xfrm>
          <a:custGeom>
            <a:avLst/>
            <a:gdLst>
              <a:gd name="connsiteX0" fmla="*/ 0 w 12192000"/>
              <a:gd name="connsiteY0" fmla="*/ 2348342 h 5524789"/>
              <a:gd name="connsiteX1" fmla="*/ 396366 w 12192000"/>
              <a:gd name="connsiteY1" fmla="*/ 5524790 h 5524789"/>
              <a:gd name="connsiteX2" fmla="*/ 1368489 w 12192000"/>
              <a:gd name="connsiteY2" fmla="*/ 5524790 h 5524789"/>
              <a:gd name="connsiteX3" fmla="*/ 1177138 w 12192000"/>
              <a:gd name="connsiteY3" fmla="*/ 2487782 h 5524789"/>
              <a:gd name="connsiteX4" fmla="*/ 1592802 w 12192000"/>
              <a:gd name="connsiteY4" fmla="*/ 2016212 h 5524789"/>
              <a:gd name="connsiteX5" fmla="*/ 12192000 w 12192000"/>
              <a:gd name="connsiteY5" fmla="*/ 1348376 h 5524789"/>
              <a:gd name="connsiteX6" fmla="*/ 12192000 w 12192000"/>
              <a:gd name="connsiteY6" fmla="*/ 0 h 5524789"/>
              <a:gd name="connsiteX7" fmla="*/ 339467 w 12192000"/>
              <a:gd name="connsiteY7" fmla="*/ 1478989 h 5524789"/>
              <a:gd name="connsiteX8" fmla="*/ 0 w 12192000"/>
              <a:gd name="connsiteY8" fmla="*/ 1715177 h 5524789"/>
              <a:gd name="connsiteX9" fmla="*/ 0 w 12192000"/>
              <a:gd name="connsiteY9" fmla="*/ 2348342 h 552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5524789">
                <a:moveTo>
                  <a:pt x="0" y="2348342"/>
                </a:moveTo>
                <a:lnTo>
                  <a:pt x="396366" y="5524790"/>
                </a:lnTo>
                <a:lnTo>
                  <a:pt x="1368489" y="5524790"/>
                </a:lnTo>
                <a:lnTo>
                  <a:pt x="1177138" y="2487782"/>
                </a:lnTo>
                <a:cubicBezTo>
                  <a:pt x="1161701" y="2242780"/>
                  <a:pt x="1347800" y="2031649"/>
                  <a:pt x="1592802" y="2016212"/>
                </a:cubicBezTo>
                <a:lnTo>
                  <a:pt x="12192000" y="1348376"/>
                </a:lnTo>
                <a:lnTo>
                  <a:pt x="12192000" y="0"/>
                </a:lnTo>
                <a:lnTo>
                  <a:pt x="339467" y="1478989"/>
                </a:lnTo>
                <a:cubicBezTo>
                  <a:pt x="188785" y="1497791"/>
                  <a:pt x="65179" y="1589949"/>
                  <a:pt x="0" y="1715177"/>
                </a:cubicBezTo>
                <a:lnTo>
                  <a:pt x="0" y="2348342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3283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AA394D-B5F8-4C34-8B98-4EFD7698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96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7AA394D-B5F8-4C34-8B98-4EFD7698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2CA7D81-2087-E45F-72FB-08CCC0A8D9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FE5869-A604-5833-6721-0CEEB2AE06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8050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B1DAB52-785A-B9DC-C7B3-126760476B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18163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3D9043A-FEB3-8063-8AFE-CE89526651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7016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30C7698-4561-FE1B-4A37-168532C58B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8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2653341-37EA-FD0A-9FCC-217EC3821AA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37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E5FEC56-DE61-B7C0-C033-CE21671A00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94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</p:spTree>
    <p:extLst>
      <p:ext uri="{BB962C8B-B14F-4D97-AF65-F5344CB8AC3E}">
        <p14:creationId xmlns:p14="http://schemas.microsoft.com/office/powerpoint/2010/main" val="138582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FFC583E-BCCD-4981-8778-5BC15B59D0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6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FFC583E-BCCD-4981-8778-5BC15B59D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raphic 8">
            <a:extLst>
              <a:ext uri="{FF2B5EF4-FFF2-40B4-BE49-F238E27FC236}">
                <a16:creationId xmlns:a16="http://schemas.microsoft.com/office/drawing/2014/main" id="{7B3201DF-3730-A49A-6303-5B1B6016B398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 dirty="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FE5869-A604-5833-6721-0CEEB2AE06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8050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B1DAB52-785A-B9DC-C7B3-126760476B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18163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3D9043A-FEB3-8063-8AFE-CE89526651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7016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30C7698-4561-FE1B-4A37-168532C58B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8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2653341-37EA-FD0A-9FCC-217EC3821AA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37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E5FEC56-DE61-B7C0-C033-CE21671A00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94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</p:spTree>
    <p:extLst>
      <p:ext uri="{BB962C8B-B14F-4D97-AF65-F5344CB8AC3E}">
        <p14:creationId xmlns:p14="http://schemas.microsoft.com/office/powerpoint/2010/main" val="3101020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13B0160-F400-44D7-B3D3-2B21A174A3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0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13B0160-F400-44D7-B3D3-2B21A174A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raphic 8">
            <a:extLst>
              <a:ext uri="{FF2B5EF4-FFF2-40B4-BE49-F238E27FC236}">
                <a16:creationId xmlns:a16="http://schemas.microsoft.com/office/drawing/2014/main" id="{7B3201DF-3730-A49A-6303-5B1B6016B398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 dirty="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7B084EE-60CC-5AC1-D5F2-79CAA3FCB0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6542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7F9FF50-6167-AA4B-6746-18BB3D9D1B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32780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FABD73B-2FBD-047D-5045-2BBEE2C6B35E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726246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67A35195-E348-943D-E0BE-E6552F64E014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726246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A7BBF094-9242-50C7-2C54-EE8CF321D161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726246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FD96575-8A66-FACA-6552-315DE8424C0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032780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CDBB69E-3AC4-7D3F-AD44-5DCEBFDDCA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032780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50B2050-BB45-2965-3B46-320C552FBD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911734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57817639-472E-4EE9-3755-442F48C26D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677972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6E6575B-E422-802B-5A41-9F33A655D24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4371438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742551E-33F1-C827-16B6-0A487EF58B2C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371438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AF111A6D-F3DB-8F41-372C-5DA6C3710F56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371438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9B91ADF-CB6A-2C00-9186-65EB960B38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677972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7C49229-C09C-CAF1-C68D-8D19A44CB1A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677972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89ACBAF-FB0C-7EAD-6B12-F98A27509B3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593370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6EAFFA0-B986-0E74-E616-6D78BABA42A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359608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47C414BF-53F5-BE34-9FD6-6BF273E413D5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053074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9FD8AD0-09C5-83C2-7E6B-FE13DE08BF6E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3074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E0CDD550-E825-DE00-FAB4-8D2DF3C34FA6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8053074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9E36A774-4BC1-2B2D-795F-F33E995860D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359608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36329EE7-DEE6-BEC5-1B6B-BEAFE70D2C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359608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</p:spTree>
    <p:extLst>
      <p:ext uri="{BB962C8B-B14F-4D97-AF65-F5344CB8AC3E}">
        <p14:creationId xmlns:p14="http://schemas.microsoft.com/office/powerpoint/2010/main" val="250498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153EF-5A9E-4C91-92BF-F675EF7A4C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83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153EF-5A9E-4C91-92BF-F675EF7A4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EFA607F-0F15-B165-90ED-0AB1DCD87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 flipH="1">
            <a:off x="-1" y="0"/>
            <a:ext cx="12192000" cy="6858000"/>
          </a:xfrm>
          <a:prstGeom prst="rect">
            <a:avLst/>
          </a:prstGeom>
        </p:spPr>
      </p:pic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64349BB2-07C5-9E8E-9C86-8AC0E131F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6350730"/>
            <a:ext cx="10960217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9F8213-0485-B7DD-CBD6-6163C60F6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3B6C24E-4B4B-4DEB-E463-1172575965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24" name="Прямоугольник 13">
            <a:extLst>
              <a:ext uri="{FF2B5EF4-FFF2-40B4-BE49-F238E27FC236}">
                <a16:creationId xmlns:a16="http://schemas.microsoft.com/office/drawing/2014/main" id="{DA401A8C-00A4-AD51-70A8-5FC66B715119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FAFFCF-0E7D-2BFD-3D48-940C346BA6A9}"/>
              </a:ext>
            </a:extLst>
          </p:cNvPr>
          <p:cNvGrpSpPr/>
          <p:nvPr userDrawn="1"/>
        </p:nvGrpSpPr>
        <p:grpSpPr>
          <a:xfrm>
            <a:off x="715845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47C59E-7094-2646-BE6A-003F3EC730F3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06384-C0EE-FE48-C3B8-9ED9B58E3099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0F5A3C-ED16-7B7B-B54F-4942DD66AF1D}"/>
              </a:ext>
            </a:extLst>
          </p:cNvPr>
          <p:cNvGrpSpPr/>
          <p:nvPr userDrawn="1"/>
        </p:nvGrpSpPr>
        <p:grpSpPr>
          <a:xfrm>
            <a:off x="7991821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6D8528F-1583-C4C1-A465-ECAB4334CA36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0F138DB-22AF-2F35-4C57-DF1487E7FAB7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998AEC-234C-0BBF-34A2-70EA2ED855B0}"/>
              </a:ext>
            </a:extLst>
          </p:cNvPr>
          <p:cNvGrpSpPr/>
          <p:nvPr userDrawn="1"/>
        </p:nvGrpSpPr>
        <p:grpSpPr>
          <a:xfrm>
            <a:off x="4353833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BBDE60D-9E05-3E4E-D46B-1255329A5F55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EDB5F8B-4174-AEF8-B98F-1362CE3C45FF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9DC3F23-BE93-E1B6-1566-91C69985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7689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3F326CE0-C817-D5EE-543C-3AAA2C5FAD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05678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7360ABD-9468-8C9B-1FB9-2C990DFEF3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42786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389FC0C-A6F6-CB12-BDFB-0772D6C71C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689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4323155-538B-3F86-E0FB-7DF280C0AE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5678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FDAFA0C-AA02-B4E6-A8A7-CF822285B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2785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C43DAA4-3AB7-142C-1285-AD617605B3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67689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654F5C4-E10B-704C-5321-1A3F2F06D7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5677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1A9418C-519C-5D99-D534-D4B99547B4A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37383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</p:spTree>
    <p:extLst>
      <p:ext uri="{BB962C8B-B14F-4D97-AF65-F5344CB8AC3E}">
        <p14:creationId xmlns:p14="http://schemas.microsoft.com/office/powerpoint/2010/main" val="4133263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ummar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E2B80B-8CFF-4A71-8753-7DC7D072C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E2B80B-8CFF-4A71-8753-7DC7D072C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raphic 8">
            <a:extLst>
              <a:ext uri="{FF2B5EF4-FFF2-40B4-BE49-F238E27FC236}">
                <a16:creationId xmlns:a16="http://schemas.microsoft.com/office/drawing/2014/main" id="{FB168DC9-B49B-EE1D-E311-BF7D7204862A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64349BB2-07C5-9E8E-9C86-8AC0E131F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6350730"/>
            <a:ext cx="10960217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9F8213-0485-B7DD-CBD6-6163C60F6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3B6C24E-4B4B-4DEB-E463-1172575965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20PT, SPLIT OVER TWO LINES MAXIMUM.</a:t>
            </a:r>
          </a:p>
        </p:txBody>
      </p:sp>
      <p:sp>
        <p:nvSpPr>
          <p:cNvPr id="24" name="Прямоугольник 13">
            <a:extLst>
              <a:ext uri="{FF2B5EF4-FFF2-40B4-BE49-F238E27FC236}">
                <a16:creationId xmlns:a16="http://schemas.microsoft.com/office/drawing/2014/main" id="{DA401A8C-00A4-AD51-70A8-5FC66B715119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FAFFCF-0E7D-2BFD-3D48-940C346BA6A9}"/>
              </a:ext>
            </a:extLst>
          </p:cNvPr>
          <p:cNvGrpSpPr/>
          <p:nvPr userDrawn="1"/>
        </p:nvGrpSpPr>
        <p:grpSpPr>
          <a:xfrm>
            <a:off x="715845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47C59E-7094-2646-BE6A-003F3EC730F3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06384-C0EE-FE48-C3B8-9ED9B58E3099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0F5A3C-ED16-7B7B-B54F-4942DD66AF1D}"/>
              </a:ext>
            </a:extLst>
          </p:cNvPr>
          <p:cNvGrpSpPr/>
          <p:nvPr userDrawn="1"/>
        </p:nvGrpSpPr>
        <p:grpSpPr>
          <a:xfrm>
            <a:off x="7991821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6D8528F-1583-C4C1-A465-ECAB4334CA36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0F138DB-22AF-2F35-4C57-DF1487E7FAB7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998AEC-234C-0BBF-34A2-70EA2ED855B0}"/>
              </a:ext>
            </a:extLst>
          </p:cNvPr>
          <p:cNvGrpSpPr/>
          <p:nvPr userDrawn="1"/>
        </p:nvGrpSpPr>
        <p:grpSpPr>
          <a:xfrm>
            <a:off x="4353833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BBDE60D-9E05-3E4E-D46B-1255329A5F55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EDB5F8B-4174-AEF8-B98F-1362CE3C45FF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9DC3F23-BE93-E1B6-1566-91C69985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7689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3F326CE0-C817-D5EE-543C-3AAA2C5FAD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05678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7360ABD-9468-8C9B-1FB9-2C990DFEF3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42786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389FC0C-A6F6-CB12-BDFB-0772D6C71C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689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4323155-538B-3F86-E0FB-7DF280C0AE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5678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FDAFA0C-AA02-B4E6-A8A7-CF822285B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2785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C43DAA4-3AB7-142C-1285-AD617605B3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67689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654F5C4-E10B-704C-5321-1A3F2F06D7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5677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1A9418C-519C-5D99-D534-D4B99547B4A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37383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</p:spTree>
    <p:extLst>
      <p:ext uri="{BB962C8B-B14F-4D97-AF65-F5344CB8AC3E}">
        <p14:creationId xmlns:p14="http://schemas.microsoft.com/office/powerpoint/2010/main" val="39765739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A2A7093-6863-458A-B02E-05DAC032D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0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A2A7093-6863-458A-B02E-05DAC032D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raphic 10">
            <a:extLst>
              <a:ext uri="{FF2B5EF4-FFF2-40B4-BE49-F238E27FC236}">
                <a16:creationId xmlns:a16="http://schemas.microsoft.com/office/drawing/2014/main" id="{30A39664-79F8-DF72-415F-CA8B693362AC}"/>
              </a:ext>
            </a:extLst>
          </p:cNvPr>
          <p:cNvSpPr/>
          <p:nvPr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CC6FE4FE-6A0C-83D4-C8A4-82B24FC992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225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5FF3A04-BE20-02A7-6548-717C792E2D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F53A3E-779D-908D-6F77-207A4CD7B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32702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WO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B73B3F-2605-AB80-4040-A3CFF3D128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30321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7B8489A-396C-1575-734C-45324D092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49555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HRE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F48397-F6A4-993C-F803-09C47A9141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7176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42C3866-8D53-F14D-FA7B-DBD75E2F2BC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29247" y="2868500"/>
            <a:ext cx="2293391" cy="871914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FOU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EBACEA0-9D65-DCC0-B433-4463BEEDD1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26868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1D3DF0A-E8DE-FDCD-9C64-3BA444B205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847" y="6094360"/>
            <a:ext cx="1070334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FFA4F11-EDCB-5B82-232B-5A15500B8B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9551509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2C761D6-2C4A-A927-AB44-D88BFE9FE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9551509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FDA9C2F-2BF0-9940-1E81-D2A3A13B72B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954819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6" name="Прямоугольник 13">
            <a:extLst>
              <a:ext uri="{FF2B5EF4-FFF2-40B4-BE49-F238E27FC236}">
                <a16:creationId xmlns:a16="http://schemas.microsoft.com/office/drawing/2014/main" id="{9041B66F-1B1B-8A0C-762A-7EF292B21F94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2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2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952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101DC6-77D1-491C-B106-F9B2B0364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19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101DC6-77D1-491C-B106-F9B2B0364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raphic 10">
            <a:extLst>
              <a:ext uri="{FF2B5EF4-FFF2-40B4-BE49-F238E27FC236}">
                <a16:creationId xmlns:a16="http://schemas.microsoft.com/office/drawing/2014/main" id="{E6BAF155-B94E-3D46-B708-A5BCD226B4C7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CAAFBEB-E304-D945-7293-EBFD760F3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226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680670BC-167D-ED4B-6B68-D1E272E200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7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06642E8F-BF18-C588-2707-7A711ED775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847" y="6094360"/>
            <a:ext cx="1070334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C34556-E6BB-C827-846C-E5B8C26215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96ACD50-56DD-90AA-5518-8CED14F9004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C0F392E1-CF54-9C81-1A76-46DCA1E6F093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4D9459A-7842-DBC6-5139-35F50197D8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8257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TWO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617F0006-B715-CDF2-77C5-DCEDB3C367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35878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25D097A6-F4DB-FF1E-903F-37AED7AC74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8288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THREE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06E9C4BE-F69E-1841-B062-7AC48BBC18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5909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691D36C-9E31-804D-1800-EB926EF167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78319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FOUR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5D41A04-8DAE-0613-3D71-D37C6621A4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75940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5FEC078-9D77-2081-5EF0-696C397851D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98351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FIVE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556895E3-A57E-0562-1E6F-502A6DD0E1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5972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22808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43880A-1E2B-5E89-F61C-7E0F21167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7B3CD8B-290C-9510-E083-A25F73BFCF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D2CA52F-9139-D160-C18B-E77A0C330E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253AD78-EABE-6194-2B29-B14D7C083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6604D52-ED81-486D-8573-EF257BBBC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EB8093A-400C-D610-A5CB-0FC58280F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5632882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C8F29A0-8D38-4331-8DC5-42F9EFBB5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002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C8F29A0-8D38-4331-8DC5-42F9EFBB5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phic 3">
            <a:extLst>
              <a:ext uri="{FF2B5EF4-FFF2-40B4-BE49-F238E27FC236}">
                <a16:creationId xmlns:a16="http://schemas.microsoft.com/office/drawing/2014/main" id="{93AED4EC-459C-87AF-0E46-E0B0A4A15C6F}"/>
              </a:ext>
            </a:extLst>
          </p:cNvPr>
          <p:cNvSpPr/>
          <p:nvPr/>
        </p:nvSpPr>
        <p:spPr>
          <a:xfrm>
            <a:off x="0" y="-5960"/>
            <a:ext cx="12189846" cy="6854462"/>
          </a:xfrm>
          <a:custGeom>
            <a:avLst/>
            <a:gdLst>
              <a:gd name="connsiteX0" fmla="*/ 1762868 w 12189846"/>
              <a:gd name="connsiteY0" fmla="*/ 536043 h 6854462"/>
              <a:gd name="connsiteX1" fmla="*/ 12189847 w 12189846"/>
              <a:gd name="connsiteY1" fmla="*/ 2166555 h 6854462"/>
              <a:gd name="connsiteX2" fmla="*/ 12189847 w 12189846"/>
              <a:gd name="connsiteY2" fmla="*/ 0 h 6854462"/>
              <a:gd name="connsiteX3" fmla="*/ 0 w 12189846"/>
              <a:gd name="connsiteY3" fmla="*/ 0 h 6854462"/>
              <a:gd name="connsiteX4" fmla="*/ 0 w 12189846"/>
              <a:gd name="connsiteY4" fmla="*/ 6854463 h 6854462"/>
              <a:gd name="connsiteX5" fmla="*/ 256064 w 12189846"/>
              <a:gd name="connsiteY5" fmla="*/ 6854463 h 6854462"/>
              <a:gd name="connsiteX6" fmla="*/ 1168405 w 12189846"/>
              <a:gd name="connsiteY6" fmla="*/ 972114 h 6854462"/>
              <a:gd name="connsiteX7" fmla="*/ 1762868 w 12189846"/>
              <a:gd name="connsiteY7" fmla="*/ 536106 h 685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846" h="6854462">
                <a:moveTo>
                  <a:pt x="1762868" y="536043"/>
                </a:moveTo>
                <a:lnTo>
                  <a:pt x="12189847" y="2166555"/>
                </a:lnTo>
                <a:lnTo>
                  <a:pt x="12189847" y="0"/>
                </a:lnTo>
                <a:lnTo>
                  <a:pt x="0" y="0"/>
                </a:lnTo>
                <a:lnTo>
                  <a:pt x="0" y="6854463"/>
                </a:lnTo>
                <a:lnTo>
                  <a:pt x="256064" y="6854463"/>
                </a:lnTo>
                <a:lnTo>
                  <a:pt x="1168405" y="972114"/>
                </a:lnTo>
                <a:cubicBezTo>
                  <a:pt x="1212677" y="686890"/>
                  <a:pt x="1478811" y="491653"/>
                  <a:pt x="1762868" y="536106"/>
                </a:cubicBez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34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766DBC61-A5AC-A085-D9C3-51168F4B705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5846" y="6419781"/>
            <a:ext cx="10420467" cy="397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E5DD3F-8AC0-545B-C4FB-B4400C3438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4709789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3BFC71C-ADCE-93C6-E992-DF5F6A924C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5573772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6" name="Прямоугольник 13">
            <a:extLst>
              <a:ext uri="{FF2B5EF4-FFF2-40B4-BE49-F238E27FC236}">
                <a16:creationId xmlns:a16="http://schemas.microsoft.com/office/drawing/2014/main" id="{991431D7-3C2E-F646-80A8-C4ACABC8D175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484599AC-85A1-AE6A-B880-4EE30ACBEE6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172701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6DD85C8-44F0-2961-AEE3-EADF9FB89EF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71706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7E5CB47-EA6A-1300-B32B-4D45394E148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52145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D43F4C0F-9C42-3D28-4774-D8ABE5FD6BF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64084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19348F5-8181-AE13-85A9-48EAC8AB30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122698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531097D-B742-B9FC-743B-34F7C1C62D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117494" y="3034495"/>
            <a:ext cx="2042810" cy="710023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ON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9298B77-41BC-BD8F-2D74-643A38BAC7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17494" y="3655492"/>
            <a:ext cx="2042810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5850B4B-D0F1-506E-384D-BED2DDAE68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85648" y="3034495"/>
            <a:ext cx="1997735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TWO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205ADA3-6583-2C91-1FC0-0460434B4F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72977" y="3655492"/>
            <a:ext cx="1997734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venir Book 14p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AB48FC4-E954-AF93-B709-05BBE1B774F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83384" y="3034495"/>
            <a:ext cx="2010146" cy="710023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THRE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B09628D9-68BA-09DB-B71D-9AB3D5DAA64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83384" y="3655492"/>
            <a:ext cx="2010146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venir Book 14p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1D7E6DD-4B9B-5091-E5CC-D612F2882E3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258248" y="3034495"/>
            <a:ext cx="1884717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FOUR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98EDC614-C898-27CA-E605-33B23D832B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58248" y="3655492"/>
            <a:ext cx="1884717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5E26CDC-BF62-07C0-F2CA-DE13D8AA8B0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207683" y="3034495"/>
            <a:ext cx="1884717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FIV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CC0D4332-C063-ABBC-A1E8-20D9FDA8B1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207683" y="3655492"/>
            <a:ext cx="1884717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</p:spTree>
    <p:extLst>
      <p:ext uri="{BB962C8B-B14F-4D97-AF65-F5344CB8AC3E}">
        <p14:creationId xmlns:p14="http://schemas.microsoft.com/office/powerpoint/2010/main" val="28232764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&gt;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A55CAF-18F8-4CDE-A5E7-1B3D6A4C4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0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A55CAF-18F8-4CDE-A5E7-1B3D6A4C4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64AC88A8-0ED9-349D-BEBE-7449BCC78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5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41EC96E7-9285-71C5-9055-1635999655E8}"/>
              </a:ext>
            </a:extLst>
          </p:cNvPr>
          <p:cNvSpPr/>
          <p:nvPr userDrawn="1"/>
        </p:nvSpPr>
        <p:spPr>
          <a:xfrm>
            <a:off x="4388640" y="1722783"/>
            <a:ext cx="7030548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49317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202570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95913 w 7063006"/>
              <a:gd name="connsiteY5" fmla="*/ 784075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195913" y="784075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2">
                <a:alpha val="2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65539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Freeform: Shape 16">
            <a:extLst>
              <a:ext uri="{FF2B5EF4-FFF2-40B4-BE49-F238E27FC236}">
                <a16:creationId xmlns:a16="http://schemas.microsoft.com/office/drawing/2014/main" id="{AA621B7C-5D80-1D43-B75C-50C78B3707BA}"/>
              </a:ext>
            </a:extLst>
          </p:cNvPr>
          <p:cNvSpPr/>
          <p:nvPr userDrawn="1"/>
        </p:nvSpPr>
        <p:spPr>
          <a:xfrm>
            <a:off x="715845" y="1722783"/>
            <a:ext cx="3352229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F3EA80C-4593-9F35-7518-DD2FC6F04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05222" y="1970959"/>
            <a:ext cx="2756453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FROM…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F80BE09-770A-4EF7-A6E3-E5EF1F1955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8216" y="1970959"/>
            <a:ext cx="6353000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O…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68BD34A-A220-6DE5-DF6B-D4FAB4CD5B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0784" y="2650083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08A4132-9E46-6F42-BEB5-DECF3FFB92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0784" y="3869035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F7FC886A-A295-D9CE-2A10-4A27700117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784" y="5067947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3E89C5C-9B61-A98B-523A-ED3C1F20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557" y="2650083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199BC217-5837-C526-ABB2-EDBAA2D12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2557" y="3869035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3B75D32-31D5-D06F-FC9D-C475542D0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2557" y="5067947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3780085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m &gt;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3B0F94-5902-478B-8151-2166784AA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82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3B0F94-5902-478B-8151-2166784AA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3">
            <a:extLst>
              <a:ext uri="{FF2B5EF4-FFF2-40B4-BE49-F238E27FC236}">
                <a16:creationId xmlns:a16="http://schemas.microsoft.com/office/drawing/2014/main" id="{066B55FB-4D94-2BA9-55C1-DF50CBB48B8F}"/>
              </a:ext>
            </a:extLst>
          </p:cNvPr>
          <p:cNvSpPr/>
          <p:nvPr userDrawn="1"/>
        </p:nvSpPr>
        <p:spPr>
          <a:xfrm rot="10800000">
            <a:off x="0" y="7196"/>
            <a:ext cx="12189846" cy="6854462"/>
          </a:xfrm>
          <a:custGeom>
            <a:avLst/>
            <a:gdLst>
              <a:gd name="connsiteX0" fmla="*/ 1762868 w 12189846"/>
              <a:gd name="connsiteY0" fmla="*/ 536043 h 6854462"/>
              <a:gd name="connsiteX1" fmla="*/ 12189847 w 12189846"/>
              <a:gd name="connsiteY1" fmla="*/ 2166555 h 6854462"/>
              <a:gd name="connsiteX2" fmla="*/ 12189847 w 12189846"/>
              <a:gd name="connsiteY2" fmla="*/ 0 h 6854462"/>
              <a:gd name="connsiteX3" fmla="*/ 0 w 12189846"/>
              <a:gd name="connsiteY3" fmla="*/ 0 h 6854462"/>
              <a:gd name="connsiteX4" fmla="*/ 0 w 12189846"/>
              <a:gd name="connsiteY4" fmla="*/ 6854463 h 6854462"/>
              <a:gd name="connsiteX5" fmla="*/ 256064 w 12189846"/>
              <a:gd name="connsiteY5" fmla="*/ 6854463 h 6854462"/>
              <a:gd name="connsiteX6" fmla="*/ 1168405 w 12189846"/>
              <a:gd name="connsiteY6" fmla="*/ 972114 h 6854462"/>
              <a:gd name="connsiteX7" fmla="*/ 1762868 w 12189846"/>
              <a:gd name="connsiteY7" fmla="*/ 536106 h 685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846" h="6854462">
                <a:moveTo>
                  <a:pt x="1762868" y="536043"/>
                </a:moveTo>
                <a:lnTo>
                  <a:pt x="12189847" y="2166555"/>
                </a:lnTo>
                <a:lnTo>
                  <a:pt x="12189847" y="0"/>
                </a:lnTo>
                <a:lnTo>
                  <a:pt x="0" y="0"/>
                </a:lnTo>
                <a:lnTo>
                  <a:pt x="0" y="6854463"/>
                </a:lnTo>
                <a:lnTo>
                  <a:pt x="256064" y="6854463"/>
                </a:lnTo>
                <a:lnTo>
                  <a:pt x="1168405" y="972114"/>
                </a:lnTo>
                <a:cubicBezTo>
                  <a:pt x="1212677" y="686890"/>
                  <a:pt x="1478811" y="491653"/>
                  <a:pt x="1762868" y="536106"/>
                </a:cubicBez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34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65539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Freeform: Shape 16">
            <a:extLst>
              <a:ext uri="{FF2B5EF4-FFF2-40B4-BE49-F238E27FC236}">
                <a16:creationId xmlns:a16="http://schemas.microsoft.com/office/drawing/2014/main" id="{AA621B7C-5D80-1D43-B75C-50C78B3707BA}"/>
              </a:ext>
            </a:extLst>
          </p:cNvPr>
          <p:cNvSpPr/>
          <p:nvPr userDrawn="1"/>
        </p:nvSpPr>
        <p:spPr>
          <a:xfrm>
            <a:off x="715845" y="1722783"/>
            <a:ext cx="3352229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5" name="Freeform: Shape 16">
            <a:extLst>
              <a:ext uri="{FF2B5EF4-FFF2-40B4-BE49-F238E27FC236}">
                <a16:creationId xmlns:a16="http://schemas.microsoft.com/office/drawing/2014/main" id="{5E4A2EBA-5C2D-A034-8861-740B979F7627}"/>
              </a:ext>
            </a:extLst>
          </p:cNvPr>
          <p:cNvSpPr/>
          <p:nvPr userDrawn="1"/>
        </p:nvSpPr>
        <p:spPr>
          <a:xfrm>
            <a:off x="4388640" y="1722783"/>
            <a:ext cx="7030548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49317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202570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95913 w 7063006"/>
              <a:gd name="connsiteY5" fmla="*/ 784075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195913" y="784075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2">
                <a:alpha val="2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F3EA80C-4593-9F35-7518-DD2FC6F04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05222" y="1970959"/>
            <a:ext cx="2756453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FROM…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F80BE09-770A-4EF7-A6E3-E5EF1F1955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8216" y="1970959"/>
            <a:ext cx="6353000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O…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68BD34A-A220-6DE5-DF6B-D4FAB4CD5B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0784" y="2650083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08A4132-9E46-6F42-BEB5-DECF3FFB92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0784" y="3869035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F7FC886A-A295-D9CE-2A10-4A27700117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784" y="5067947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3E89C5C-9B61-A98B-523A-ED3C1F20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557" y="2650083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199BC217-5837-C526-ABB2-EDBAA2D12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2557" y="3869035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3B75D32-31D5-D06F-FC9D-C475542D0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2557" y="5067947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2674485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1A6271-4A48-46F2-B799-07845879A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005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1A6271-4A48-46F2-B799-07845879A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raphic 29">
            <a:extLst>
              <a:ext uri="{FF2B5EF4-FFF2-40B4-BE49-F238E27FC236}">
                <a16:creationId xmlns:a16="http://schemas.microsoft.com/office/drawing/2014/main" id="{953D48C8-C601-1549-C2AC-DA86DD063E67}"/>
              </a:ext>
            </a:extLst>
          </p:cNvPr>
          <p:cNvSpPr/>
          <p:nvPr/>
        </p:nvSpPr>
        <p:spPr>
          <a:xfrm>
            <a:off x="0" y="2070854"/>
            <a:ext cx="12790255" cy="4785165"/>
          </a:xfrm>
          <a:custGeom>
            <a:avLst/>
            <a:gdLst>
              <a:gd name="connsiteX0" fmla="*/ 5805635 w 12790255"/>
              <a:gd name="connsiteY0" fmla="*/ 4785166 h 4785165"/>
              <a:gd name="connsiteX1" fmla="*/ 5971318 w 12790255"/>
              <a:gd name="connsiteY1" fmla="*/ 4438043 h 4785165"/>
              <a:gd name="connsiteX2" fmla="*/ 6774658 w 12790255"/>
              <a:gd name="connsiteY2" fmla="*/ 4153819 h 4785165"/>
              <a:gd name="connsiteX3" fmla="*/ 8097260 w 12790255"/>
              <a:gd name="connsiteY3" fmla="*/ 4785093 h 4785165"/>
              <a:gd name="connsiteX4" fmla="*/ 12790255 w 12790255"/>
              <a:gd name="connsiteY4" fmla="*/ 4785093 h 4785165"/>
              <a:gd name="connsiteX5" fmla="*/ 12790255 w 12790255"/>
              <a:gd name="connsiteY5" fmla="*/ 2621563 h 4785165"/>
              <a:gd name="connsiteX6" fmla="*/ 1783947 w 12790255"/>
              <a:gd name="connsiteY6" fmla="*/ 17293 h 4785165"/>
              <a:gd name="connsiteX7" fmla="*/ 1016015 w 12790255"/>
              <a:gd name="connsiteY7" fmla="*/ 491317 h 4785165"/>
              <a:gd name="connsiteX8" fmla="*/ 0 w 12790255"/>
              <a:gd name="connsiteY8" fmla="*/ 4785166 h 4785165"/>
              <a:gd name="connsiteX9" fmla="*/ 5805635 w 12790255"/>
              <a:gd name="connsiteY9" fmla="*/ 4785166 h 4785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90255" h="4785165">
                <a:moveTo>
                  <a:pt x="5805635" y="4785166"/>
                </a:moveTo>
                <a:lnTo>
                  <a:pt x="5971318" y="4438043"/>
                </a:lnTo>
                <a:cubicBezTo>
                  <a:pt x="6114640" y="4137690"/>
                  <a:pt x="6474377" y="4010498"/>
                  <a:pt x="6774658" y="4153819"/>
                </a:cubicBezTo>
                <a:lnTo>
                  <a:pt x="8097260" y="4785093"/>
                </a:lnTo>
                <a:lnTo>
                  <a:pt x="12790255" y="4785093"/>
                </a:lnTo>
                <a:lnTo>
                  <a:pt x="12790255" y="2621563"/>
                </a:lnTo>
                <a:lnTo>
                  <a:pt x="1783947" y="17293"/>
                </a:lnTo>
                <a:cubicBezTo>
                  <a:pt x="1440999" y="-63861"/>
                  <a:pt x="1097171" y="148372"/>
                  <a:pt x="1016015" y="491317"/>
                </a:cubicBezTo>
                <a:lnTo>
                  <a:pt x="0" y="4785166"/>
                </a:lnTo>
                <a:lnTo>
                  <a:pt x="5805635" y="478516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" r="4677"/>
            </a:stretch>
          </a:blipFill>
          <a:ln w="6987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3C0BB8A-9C5F-E1D2-BBA8-1DF238B9E51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1688" y="6460725"/>
            <a:ext cx="10669389" cy="397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BD06EA4-45A9-5A7E-2C9E-434E130E7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38FEDCD-C38A-AF9F-4260-4AED271EA13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2" name="Прямоугольник 13">
            <a:extLst>
              <a:ext uri="{FF2B5EF4-FFF2-40B4-BE49-F238E27FC236}">
                <a16:creationId xmlns:a16="http://schemas.microsoft.com/office/drawing/2014/main" id="{3342246C-8D65-1204-6561-1AE7D728346C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2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2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FC619E8-5D1F-2C53-067E-8FB522E7A61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3368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4698B855-7ACA-D304-AAED-4CDFDA1E26A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68016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81A87ED-B36F-938D-CE07-CFA30F87BA2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22664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38546FC-7D34-2117-624A-924396322F1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77313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057ACBD2-BD35-221B-7652-A0CE47DE39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1688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NAME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3701080-45B5-EAA6-9B2E-6D4469599F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1688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Occupation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F1090EBD-7E43-7FF8-B95A-A6DC3CC801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68016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E69DE455-85A4-1347-90A5-587636B836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68016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14pt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9734A0A-2FE0-B463-125D-36A408A404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2664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NAME 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3544AB67-F0DF-9BB5-8E99-C632AB7C83B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2664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Occupation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21C1C669-546B-7EDB-A448-EBBBC216F07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09293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 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C2EB64AF-7CB9-B3E7-3D05-11F016F784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09293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</p:spTree>
    <p:extLst>
      <p:ext uri="{BB962C8B-B14F-4D97-AF65-F5344CB8AC3E}">
        <p14:creationId xmlns:p14="http://schemas.microsoft.com/office/powerpoint/2010/main" val="26914671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52525778-28AF-7DFA-1DCA-040FA0B3C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693B5F7-E30D-B19A-FB19-562F0E9E4F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86707" y="2627657"/>
            <a:ext cx="1602685" cy="1602685"/>
          </a:xfrm>
          <a:prstGeom prst="rect">
            <a:avLst/>
          </a:prstGeom>
        </p:spPr>
      </p:pic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48102D49-517E-CE14-6059-D3F8048729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sclaimer text or additional footnotes and references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8437135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C40A0FA-7E15-1BF9-E097-10DB699BB8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isclaimer text or additional footnotes and references</a:t>
            </a:r>
            <a:endParaRPr lang="en-SG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92B0402-E590-CDDC-245B-0FA3F596FE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6707" y="2627657"/>
            <a:ext cx="1602685" cy="160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4169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方正兰亭准黑简体" panose="02000000000000000000" pitchFamily="2" charset="-122"/>
                <a:ea typeface="方正兰亭准黑简体" panose="02000000000000000000" pitchFamily="2" charset="-122"/>
                <a:cs typeface="Arial" panose="020B0604020202020204" pitchFamily="34" charset="0"/>
              </a:defRPr>
            </a:lvl1pPr>
          </a:lstStyle>
          <a:p>
            <a:fld id="{FA7626CA-AF04-CA4C-9B5F-13CCA58A0BA4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496950" y="319221"/>
            <a:ext cx="8561902" cy="365125"/>
          </a:xfrm>
        </p:spPr>
        <p:txBody>
          <a:bodyPr anchor="t">
            <a:noAutofit/>
          </a:bodyPr>
          <a:lstStyle>
            <a:lvl1pPr>
              <a:defRPr sz="2800" b="1" i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Global Leader in Digital Transformation</a:t>
            </a:r>
            <a:endParaRPr kumimoji="1" lang="zh-CN" altLang="en-US" dirty="0"/>
          </a:p>
        </p:txBody>
      </p:sp>
      <p:sp>
        <p:nvSpPr>
          <p:cNvPr id="17" name="文本占位符 10"/>
          <p:cNvSpPr>
            <a:spLocks noGrp="1"/>
          </p:cNvSpPr>
          <p:nvPr>
            <p:ph type="body" sz="quarter" idx="15" hasCustomPrompt="1"/>
          </p:nvPr>
        </p:nvSpPr>
        <p:spPr>
          <a:xfrm>
            <a:off x="496949" y="1002042"/>
            <a:ext cx="11197745" cy="5354308"/>
          </a:xfrm>
        </p:spPr>
        <p:txBody>
          <a:bodyPr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3"/>
          <a:srcRect r="27744" b="-419"/>
          <a:stretch>
            <a:fillRect/>
          </a:stretch>
        </p:blipFill>
        <p:spPr>
          <a:xfrm>
            <a:off x="9676551" y="335818"/>
            <a:ext cx="2167943" cy="33193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76869" y="81156"/>
            <a:ext cx="1278933" cy="85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061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272087" y="2493833"/>
            <a:ext cx="10316533" cy="1070235"/>
          </a:xfrm>
          <a:prstGeom prst="rect">
            <a:avLst/>
          </a:prstGeom>
        </p:spPr>
        <p:txBody>
          <a:bodyPr anchor="b"/>
          <a:lstStyle>
            <a:lvl1pPr algn="l">
              <a:defRPr sz="5400" b="1" i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710237" y="4090112"/>
            <a:ext cx="9144000" cy="3651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 dirty="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338557" y="4123041"/>
            <a:ext cx="286385" cy="286385"/>
            <a:chOff x="847725" y="4597400"/>
            <a:chExt cx="260350" cy="260350"/>
          </a:xfrm>
        </p:grpSpPr>
        <p:sp>
          <p:nvSpPr>
            <p:cNvPr id="12" name="left-arrow_152413"/>
            <p:cNvSpPr>
              <a:spLocks noChangeAspect="1"/>
            </p:cNvSpPr>
            <p:nvPr/>
          </p:nvSpPr>
          <p:spPr>
            <a:xfrm rot="16200000">
              <a:off x="937385" y="4669598"/>
              <a:ext cx="77622" cy="133587"/>
            </a:xfrm>
            <a:custGeom>
              <a:avLst/>
              <a:gdLst>
                <a:gd name="T0" fmla="*/ 1873 w 1939"/>
                <a:gd name="T1" fmla="*/ 4106 h 4426"/>
                <a:gd name="T2" fmla="*/ 463 w 1939"/>
                <a:gd name="T3" fmla="*/ 2226 h 4426"/>
                <a:gd name="T4" fmla="*/ 1873 w 1939"/>
                <a:gd name="T5" fmla="*/ 346 h 4426"/>
                <a:gd name="T6" fmla="*/ 1833 w 1939"/>
                <a:gd name="T7" fmla="*/ 66 h 4426"/>
                <a:gd name="T8" fmla="*/ 1553 w 1939"/>
                <a:gd name="T9" fmla="*/ 106 h 4426"/>
                <a:gd name="T10" fmla="*/ 53 w 1939"/>
                <a:gd name="T11" fmla="*/ 2106 h 4426"/>
                <a:gd name="T12" fmla="*/ 53 w 1939"/>
                <a:gd name="T13" fmla="*/ 2346 h 4426"/>
                <a:gd name="T14" fmla="*/ 1553 w 1939"/>
                <a:gd name="T15" fmla="*/ 4346 h 4426"/>
                <a:gd name="T16" fmla="*/ 1713 w 1939"/>
                <a:gd name="T17" fmla="*/ 4426 h 4426"/>
                <a:gd name="T18" fmla="*/ 1833 w 1939"/>
                <a:gd name="T19" fmla="*/ 4386 h 4426"/>
                <a:gd name="T20" fmla="*/ 1873 w 1939"/>
                <a:gd name="T21" fmla="*/ 4106 h 4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9" h="4426">
                  <a:moveTo>
                    <a:pt x="1873" y="4106"/>
                  </a:moveTo>
                  <a:lnTo>
                    <a:pt x="463" y="2226"/>
                  </a:lnTo>
                  <a:lnTo>
                    <a:pt x="1873" y="346"/>
                  </a:lnTo>
                  <a:cubicBezTo>
                    <a:pt x="1939" y="258"/>
                    <a:pt x="1921" y="132"/>
                    <a:pt x="1833" y="66"/>
                  </a:cubicBezTo>
                  <a:cubicBezTo>
                    <a:pt x="1745" y="0"/>
                    <a:pt x="1619" y="18"/>
                    <a:pt x="1553" y="106"/>
                  </a:cubicBezTo>
                  <a:lnTo>
                    <a:pt x="53" y="2106"/>
                  </a:lnTo>
                  <a:cubicBezTo>
                    <a:pt x="0" y="2177"/>
                    <a:pt x="0" y="2275"/>
                    <a:pt x="53" y="2346"/>
                  </a:cubicBezTo>
                  <a:lnTo>
                    <a:pt x="1553" y="4346"/>
                  </a:lnTo>
                  <a:cubicBezTo>
                    <a:pt x="1592" y="4398"/>
                    <a:pt x="1652" y="4426"/>
                    <a:pt x="1713" y="4426"/>
                  </a:cubicBezTo>
                  <a:cubicBezTo>
                    <a:pt x="1755" y="4426"/>
                    <a:pt x="1797" y="4413"/>
                    <a:pt x="1833" y="4386"/>
                  </a:cubicBezTo>
                  <a:cubicBezTo>
                    <a:pt x="1921" y="4320"/>
                    <a:pt x="1939" y="4194"/>
                    <a:pt x="1873" y="41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Calibri Light" panose="020F0302020204030204" pitchFamily="34" charset="0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847725" y="4597400"/>
              <a:ext cx="260350" cy="260350"/>
            </a:xfrm>
            <a:prstGeom prst="roundRect">
              <a:avLst>
                <a:gd name="adj" fmla="val 11789"/>
              </a:avLst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0" i="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4" name="组合 3"/>
          <p:cNvGrpSpPr>
            <a:grpSpLocks noChangeAspect="1"/>
          </p:cNvGrpSpPr>
          <p:nvPr userDrawn="1"/>
        </p:nvGrpSpPr>
        <p:grpSpPr>
          <a:xfrm>
            <a:off x="9752479" y="520013"/>
            <a:ext cx="1980000" cy="304404"/>
            <a:chOff x="1004703" y="1389693"/>
            <a:chExt cx="2329900" cy="358197"/>
          </a:xfrm>
          <a:solidFill>
            <a:schemeClr val="bg1"/>
          </a:solidFill>
        </p:grpSpPr>
        <p:sp>
          <p:nvSpPr>
            <p:cNvPr id="5" name="任意形状 4"/>
            <p:cNvSpPr/>
            <p:nvPr/>
          </p:nvSpPr>
          <p:spPr>
            <a:xfrm>
              <a:off x="1658314" y="1484199"/>
              <a:ext cx="1676289" cy="221262"/>
            </a:xfrm>
            <a:custGeom>
              <a:avLst/>
              <a:gdLst>
                <a:gd name="connsiteX0" fmla="*/ 703943 w 1650905"/>
                <a:gd name="connsiteY0" fmla="*/ 126778 h 221262"/>
                <a:gd name="connsiteX1" fmla="*/ 747036 w 1650905"/>
                <a:gd name="connsiteY1" fmla="*/ 77342 h 221262"/>
                <a:gd name="connsiteX2" fmla="*/ 784358 w 1650905"/>
                <a:gd name="connsiteY2" fmla="*/ 126778 h 221262"/>
                <a:gd name="connsiteX3" fmla="*/ 544563 w 1650905"/>
                <a:gd name="connsiteY3" fmla="*/ 197113 h 221262"/>
                <a:gd name="connsiteX4" fmla="*/ 470400 w 1650905"/>
                <a:gd name="connsiteY4" fmla="*/ 170054 h 221262"/>
                <a:gd name="connsiteX5" fmla="*/ 473706 w 1650905"/>
                <a:gd name="connsiteY5" fmla="*/ 155883 h 221262"/>
                <a:gd name="connsiteX6" fmla="*/ 544563 w 1650905"/>
                <a:gd name="connsiteY6" fmla="*/ 142923 h 221262"/>
                <a:gd name="connsiteX7" fmla="*/ 1597153 w 1650905"/>
                <a:gd name="connsiteY7" fmla="*/ 198355 h 221262"/>
                <a:gd name="connsiteX8" fmla="*/ 1574159 w 1650905"/>
                <a:gd name="connsiteY8" fmla="*/ 193978 h 221262"/>
                <a:gd name="connsiteX9" fmla="*/ 1557343 w 1650905"/>
                <a:gd name="connsiteY9" fmla="*/ 181771 h 221262"/>
                <a:gd name="connsiteX10" fmla="*/ 1546993 w 1650905"/>
                <a:gd name="connsiteY10" fmla="*/ 163082 h 221262"/>
                <a:gd name="connsiteX11" fmla="*/ 1543401 w 1650905"/>
                <a:gd name="connsiteY11" fmla="*/ 138962 h 221262"/>
                <a:gd name="connsiteX12" fmla="*/ 1556765 w 1650905"/>
                <a:gd name="connsiteY12" fmla="*/ 93141 h 221262"/>
                <a:gd name="connsiteX13" fmla="*/ 1595719 w 1650905"/>
                <a:gd name="connsiteY13" fmla="*/ 78369 h 221262"/>
                <a:gd name="connsiteX14" fmla="*/ 1606784 w 1650905"/>
                <a:gd name="connsiteY14" fmla="*/ 78974 h 221262"/>
                <a:gd name="connsiteX15" fmla="*/ 1622165 w 1650905"/>
                <a:gd name="connsiteY15" fmla="*/ 81083 h 221262"/>
                <a:gd name="connsiteX16" fmla="*/ 1622165 w 1650905"/>
                <a:gd name="connsiteY16" fmla="*/ 196844 h 221262"/>
                <a:gd name="connsiteX17" fmla="*/ 1607070 w 1650905"/>
                <a:gd name="connsiteY17" fmla="*/ 198047 h 221262"/>
                <a:gd name="connsiteX18" fmla="*/ 1597153 w 1650905"/>
                <a:gd name="connsiteY18" fmla="*/ 198355 h 221262"/>
                <a:gd name="connsiteX19" fmla="*/ 1240032 w 1650905"/>
                <a:gd name="connsiteY19" fmla="*/ 198652 h 221262"/>
                <a:gd name="connsiteX20" fmla="*/ 1206113 w 1650905"/>
                <a:gd name="connsiteY20" fmla="*/ 182072 h 221262"/>
                <a:gd name="connsiteX21" fmla="*/ 1194617 w 1650905"/>
                <a:gd name="connsiteY21" fmla="*/ 137154 h 221262"/>
                <a:gd name="connsiteX22" fmla="*/ 1206113 w 1650905"/>
                <a:gd name="connsiteY22" fmla="*/ 93442 h 221262"/>
                <a:gd name="connsiteX23" fmla="*/ 1240032 w 1650905"/>
                <a:gd name="connsiteY23" fmla="*/ 77764 h 221262"/>
                <a:gd name="connsiteX24" fmla="*/ 1273952 w 1650905"/>
                <a:gd name="connsiteY24" fmla="*/ 93442 h 221262"/>
                <a:gd name="connsiteX25" fmla="*/ 1285451 w 1650905"/>
                <a:gd name="connsiteY25" fmla="*/ 137154 h 221262"/>
                <a:gd name="connsiteX26" fmla="*/ 1273952 w 1650905"/>
                <a:gd name="connsiteY26" fmla="*/ 182072 h 221262"/>
                <a:gd name="connsiteX27" fmla="*/ 1240032 w 1650905"/>
                <a:gd name="connsiteY27" fmla="*/ 198652 h 221262"/>
                <a:gd name="connsiteX28" fmla="*/ 1016439 w 1650905"/>
                <a:gd name="connsiteY28" fmla="*/ 221001 h 221262"/>
                <a:gd name="connsiteX29" fmla="*/ 1075329 w 1650905"/>
                <a:gd name="connsiteY29" fmla="*/ 215362 h 221262"/>
                <a:gd name="connsiteX30" fmla="*/ 1077023 w 1650905"/>
                <a:gd name="connsiteY30" fmla="*/ 213257 h 221262"/>
                <a:gd name="connsiteX31" fmla="*/ 1077023 w 1650905"/>
                <a:gd name="connsiteY31" fmla="*/ 195090 h 221262"/>
                <a:gd name="connsiteX32" fmla="*/ 1072129 w 1650905"/>
                <a:gd name="connsiteY32" fmla="*/ 190895 h 221262"/>
                <a:gd name="connsiteX33" fmla="*/ 1046387 w 1650905"/>
                <a:gd name="connsiteY33" fmla="*/ 193856 h 221262"/>
                <a:gd name="connsiteX34" fmla="*/ 959610 w 1650905"/>
                <a:gd name="connsiteY34" fmla="*/ 110688 h 221262"/>
                <a:gd name="connsiteX35" fmla="*/ 1048134 w 1650905"/>
                <a:gd name="connsiteY35" fmla="*/ 27787 h 221262"/>
                <a:gd name="connsiteX36" fmla="*/ 1072156 w 1650905"/>
                <a:gd name="connsiteY36" fmla="*/ 31251 h 221262"/>
                <a:gd name="connsiteX37" fmla="*/ 1077019 w 1650905"/>
                <a:gd name="connsiteY37" fmla="*/ 27052 h 221262"/>
                <a:gd name="connsiteX38" fmla="*/ 1077019 w 1650905"/>
                <a:gd name="connsiteY38" fmla="*/ 7834 h 221262"/>
                <a:gd name="connsiteX39" fmla="*/ 1075299 w 1650905"/>
                <a:gd name="connsiteY39" fmla="*/ 5725 h 221262"/>
                <a:gd name="connsiteX40" fmla="*/ 927555 w 1650905"/>
                <a:gd name="connsiteY40" fmla="*/ 110688 h 221262"/>
                <a:gd name="connsiteX41" fmla="*/ 1016439 w 1650905"/>
                <a:gd name="connsiteY41" fmla="*/ 221001 h 221262"/>
                <a:gd name="connsiteX42" fmla="*/ 507051 w 1650905"/>
                <a:gd name="connsiteY42" fmla="*/ 221002 h 221262"/>
                <a:gd name="connsiteX43" fmla="*/ 571511 w 1650905"/>
                <a:gd name="connsiteY43" fmla="*/ 217641 h 221262"/>
                <a:gd name="connsiteX44" fmla="*/ 573307 w 1650905"/>
                <a:gd name="connsiteY44" fmla="*/ 215528 h 221262"/>
                <a:gd name="connsiteX45" fmla="*/ 573307 w 1650905"/>
                <a:gd name="connsiteY45" fmla="*/ 102226 h 221262"/>
                <a:gd name="connsiteX46" fmla="*/ 450498 w 1650905"/>
                <a:gd name="connsiteY46" fmla="*/ 72567 h 221262"/>
                <a:gd name="connsiteX47" fmla="*/ 449231 w 1650905"/>
                <a:gd name="connsiteY47" fmla="*/ 74535 h 221262"/>
                <a:gd name="connsiteX48" fmla="*/ 449231 w 1650905"/>
                <a:gd name="connsiteY48" fmla="*/ 94609 h 221262"/>
                <a:gd name="connsiteX49" fmla="*/ 452291 w 1650905"/>
                <a:gd name="connsiteY49" fmla="*/ 96471 h 221262"/>
                <a:gd name="connsiteX50" fmla="*/ 544277 w 1650905"/>
                <a:gd name="connsiteY50" fmla="*/ 108289 h 221262"/>
                <a:gd name="connsiteX51" fmla="*/ 544277 w 1650905"/>
                <a:gd name="connsiteY51" fmla="*/ 120618 h 221262"/>
                <a:gd name="connsiteX52" fmla="*/ 468246 w 1650905"/>
                <a:gd name="connsiteY52" fmla="*/ 125886 h 221262"/>
                <a:gd name="connsiteX53" fmla="*/ 440506 w 1650905"/>
                <a:gd name="connsiteY53" fmla="*/ 169152 h 221262"/>
                <a:gd name="connsiteX54" fmla="*/ 507051 w 1650905"/>
                <a:gd name="connsiteY54" fmla="*/ 221002 h 221262"/>
                <a:gd name="connsiteX55" fmla="*/ 753524 w 1650905"/>
                <a:gd name="connsiteY55" fmla="*/ 221137 h 221262"/>
                <a:gd name="connsiteX56" fmla="*/ 806831 w 1650905"/>
                <a:gd name="connsiteY56" fmla="*/ 210407 h 221262"/>
                <a:gd name="connsiteX57" fmla="*/ 807995 w 1650905"/>
                <a:gd name="connsiteY57" fmla="*/ 208496 h 221262"/>
                <a:gd name="connsiteX58" fmla="*/ 807995 w 1650905"/>
                <a:gd name="connsiteY58" fmla="*/ 191695 h 221262"/>
                <a:gd name="connsiteX59" fmla="*/ 805046 w 1650905"/>
                <a:gd name="connsiteY59" fmla="*/ 189750 h 221262"/>
                <a:gd name="connsiteX60" fmla="*/ 748798 w 1650905"/>
                <a:gd name="connsiteY60" fmla="*/ 198447 h 221262"/>
                <a:gd name="connsiteX61" fmla="*/ 702409 w 1650905"/>
                <a:gd name="connsiteY61" fmla="*/ 148181 h 221262"/>
                <a:gd name="connsiteX62" fmla="*/ 812748 w 1650905"/>
                <a:gd name="connsiteY62" fmla="*/ 148181 h 221262"/>
                <a:gd name="connsiteX63" fmla="*/ 815560 w 1650905"/>
                <a:gd name="connsiteY63" fmla="*/ 145349 h 221262"/>
                <a:gd name="connsiteX64" fmla="*/ 815560 w 1650905"/>
                <a:gd name="connsiteY64" fmla="*/ 140352 h 221262"/>
                <a:gd name="connsiteX65" fmla="*/ 745788 w 1650905"/>
                <a:gd name="connsiteY65" fmla="*/ 55939 h 221262"/>
                <a:gd name="connsiteX66" fmla="*/ 671104 w 1650905"/>
                <a:gd name="connsiteY66" fmla="*/ 135225 h 221262"/>
                <a:gd name="connsiteX67" fmla="*/ 692215 w 1650905"/>
                <a:gd name="connsiteY67" fmla="*/ 198527 h 221262"/>
                <a:gd name="connsiteX68" fmla="*/ 753524 w 1650905"/>
                <a:gd name="connsiteY68" fmla="*/ 221137 h 221262"/>
                <a:gd name="connsiteX69" fmla="*/ 1103606 w 1650905"/>
                <a:gd name="connsiteY69" fmla="*/ 221261 h 221262"/>
                <a:gd name="connsiteX70" fmla="*/ 1128119 w 1650905"/>
                <a:gd name="connsiteY70" fmla="*/ 221261 h 221262"/>
                <a:gd name="connsiteX71" fmla="*/ 1130234 w 1650905"/>
                <a:gd name="connsiteY71" fmla="*/ 219134 h 221262"/>
                <a:gd name="connsiteX72" fmla="*/ 1130234 w 1650905"/>
                <a:gd name="connsiteY72" fmla="*/ 13261 h 221262"/>
                <a:gd name="connsiteX73" fmla="*/ 1121787 w 1650905"/>
                <a:gd name="connsiteY73" fmla="*/ 4762 h 221262"/>
                <a:gd name="connsiteX74" fmla="*/ 1103606 w 1650905"/>
                <a:gd name="connsiteY74" fmla="*/ 4762 h 221262"/>
                <a:gd name="connsiteX75" fmla="*/ 1101490 w 1650905"/>
                <a:gd name="connsiteY75" fmla="*/ 6886 h 221262"/>
                <a:gd name="connsiteX76" fmla="*/ 1101490 w 1650905"/>
                <a:gd name="connsiteY76" fmla="*/ 219134 h 221262"/>
                <a:gd name="connsiteX77" fmla="*/ 1103606 w 1650905"/>
                <a:gd name="connsiteY77" fmla="*/ 221261 h 221262"/>
                <a:gd name="connsiteX78" fmla="*/ 612098 w 1650905"/>
                <a:gd name="connsiteY78" fmla="*/ 221261 h 221262"/>
                <a:gd name="connsiteX79" fmla="*/ 636615 w 1650905"/>
                <a:gd name="connsiteY79" fmla="*/ 221261 h 221262"/>
                <a:gd name="connsiteX80" fmla="*/ 638727 w 1650905"/>
                <a:gd name="connsiteY80" fmla="*/ 219134 h 221262"/>
                <a:gd name="connsiteX81" fmla="*/ 638727 w 1650905"/>
                <a:gd name="connsiteY81" fmla="*/ 12485 h 221262"/>
                <a:gd name="connsiteX82" fmla="*/ 631051 w 1650905"/>
                <a:gd name="connsiteY82" fmla="*/ 4762 h 221262"/>
                <a:gd name="connsiteX83" fmla="*/ 612098 w 1650905"/>
                <a:gd name="connsiteY83" fmla="*/ 4762 h 221262"/>
                <a:gd name="connsiteX84" fmla="*/ 609986 w 1650905"/>
                <a:gd name="connsiteY84" fmla="*/ 6886 h 221262"/>
                <a:gd name="connsiteX85" fmla="*/ 609986 w 1650905"/>
                <a:gd name="connsiteY85" fmla="*/ 219134 h 221262"/>
                <a:gd name="connsiteX86" fmla="*/ 612098 w 1650905"/>
                <a:gd name="connsiteY86" fmla="*/ 221261 h 221262"/>
                <a:gd name="connsiteX87" fmla="*/ 281076 w 1650905"/>
                <a:gd name="connsiteY87" fmla="*/ 221261 h 221262"/>
                <a:gd name="connsiteX88" fmla="*/ 305593 w 1650905"/>
                <a:gd name="connsiteY88" fmla="*/ 221261 h 221262"/>
                <a:gd name="connsiteX89" fmla="*/ 307705 w 1650905"/>
                <a:gd name="connsiteY89" fmla="*/ 219134 h 221262"/>
                <a:gd name="connsiteX90" fmla="*/ 307705 w 1650905"/>
                <a:gd name="connsiteY90" fmla="*/ 104682 h 221262"/>
                <a:gd name="connsiteX91" fmla="*/ 383017 w 1650905"/>
                <a:gd name="connsiteY91" fmla="*/ 116051 h 221262"/>
                <a:gd name="connsiteX92" fmla="*/ 383017 w 1650905"/>
                <a:gd name="connsiteY92" fmla="*/ 219134 h 221262"/>
                <a:gd name="connsiteX93" fmla="*/ 385129 w 1650905"/>
                <a:gd name="connsiteY93" fmla="*/ 221261 h 221262"/>
                <a:gd name="connsiteX94" fmla="*/ 409649 w 1650905"/>
                <a:gd name="connsiteY94" fmla="*/ 221261 h 221262"/>
                <a:gd name="connsiteX95" fmla="*/ 411761 w 1650905"/>
                <a:gd name="connsiteY95" fmla="*/ 219134 h 221262"/>
                <a:gd name="connsiteX96" fmla="*/ 411761 w 1650905"/>
                <a:gd name="connsiteY96" fmla="*/ 108819 h 221262"/>
                <a:gd name="connsiteX97" fmla="*/ 307480 w 1650905"/>
                <a:gd name="connsiteY97" fmla="*/ 75422 h 221262"/>
                <a:gd name="connsiteX98" fmla="*/ 307480 w 1650905"/>
                <a:gd name="connsiteY98" fmla="*/ 13262 h 221262"/>
                <a:gd name="connsiteX99" fmla="*/ 299040 w 1650905"/>
                <a:gd name="connsiteY99" fmla="*/ 4762 h 221262"/>
                <a:gd name="connsiteX100" fmla="*/ 281076 w 1650905"/>
                <a:gd name="connsiteY100" fmla="*/ 4762 h 221262"/>
                <a:gd name="connsiteX101" fmla="*/ 278964 w 1650905"/>
                <a:gd name="connsiteY101" fmla="*/ 6886 h 221262"/>
                <a:gd name="connsiteX102" fmla="*/ 278964 w 1650905"/>
                <a:gd name="connsiteY102" fmla="*/ 219134 h 221262"/>
                <a:gd name="connsiteX103" fmla="*/ 281076 w 1650905"/>
                <a:gd name="connsiteY103" fmla="*/ 221261 h 221262"/>
                <a:gd name="connsiteX104" fmla="*/ 55412 w 1650905"/>
                <a:gd name="connsiteY104" fmla="*/ 221261 h 221262"/>
                <a:gd name="connsiteX105" fmla="*/ 92737 w 1650905"/>
                <a:gd name="connsiteY105" fmla="*/ 221261 h 221262"/>
                <a:gd name="connsiteX106" fmla="*/ 97277 w 1650905"/>
                <a:gd name="connsiteY106" fmla="*/ 217554 h 221262"/>
                <a:gd name="connsiteX107" fmla="*/ 133521 w 1650905"/>
                <a:gd name="connsiteY107" fmla="*/ 42643 h 221262"/>
                <a:gd name="connsiteX108" fmla="*/ 168757 w 1650905"/>
                <a:gd name="connsiteY108" fmla="*/ 217531 h 221262"/>
                <a:gd name="connsiteX109" fmla="*/ 173305 w 1650905"/>
                <a:gd name="connsiteY109" fmla="*/ 221261 h 221262"/>
                <a:gd name="connsiteX110" fmla="*/ 208335 w 1650905"/>
                <a:gd name="connsiteY110" fmla="*/ 221261 h 221262"/>
                <a:gd name="connsiteX111" fmla="*/ 210382 w 1650905"/>
                <a:gd name="connsiteY111" fmla="*/ 219651 h 221262"/>
                <a:gd name="connsiteX112" fmla="*/ 263187 w 1650905"/>
                <a:gd name="connsiteY112" fmla="*/ 7347 h 221262"/>
                <a:gd name="connsiteX113" fmla="*/ 261140 w 1650905"/>
                <a:gd name="connsiteY113" fmla="*/ 4705 h 221262"/>
                <a:gd name="connsiteX114" fmla="*/ 237989 w 1650905"/>
                <a:gd name="connsiteY114" fmla="*/ 4705 h 221262"/>
                <a:gd name="connsiteX115" fmla="*/ 230755 w 1650905"/>
                <a:gd name="connsiteY115" fmla="*/ 10399 h 221262"/>
                <a:gd name="connsiteX116" fmla="*/ 188259 w 1650905"/>
                <a:gd name="connsiteY116" fmla="*/ 182030 h 221262"/>
                <a:gd name="connsiteX117" fmla="*/ 155664 w 1650905"/>
                <a:gd name="connsiteY117" fmla="*/ 10913 h 221262"/>
                <a:gd name="connsiteX118" fmla="*/ 148339 w 1650905"/>
                <a:gd name="connsiteY118" fmla="*/ 4819 h 221262"/>
                <a:gd name="connsiteX119" fmla="*/ 119218 w 1650905"/>
                <a:gd name="connsiteY119" fmla="*/ 4819 h 221262"/>
                <a:gd name="connsiteX120" fmla="*/ 111904 w 1650905"/>
                <a:gd name="connsiteY120" fmla="*/ 10845 h 221262"/>
                <a:gd name="connsiteX121" fmla="*/ 76603 w 1650905"/>
                <a:gd name="connsiteY121" fmla="*/ 187499 h 221262"/>
                <a:gd name="connsiteX122" fmla="*/ 33963 w 1650905"/>
                <a:gd name="connsiteY122" fmla="*/ 10445 h 221262"/>
                <a:gd name="connsiteX123" fmla="*/ 26717 w 1650905"/>
                <a:gd name="connsiteY123" fmla="*/ 4705 h 221262"/>
                <a:gd name="connsiteX124" fmla="*/ 2109 w 1650905"/>
                <a:gd name="connsiteY124" fmla="*/ 4705 h 221262"/>
                <a:gd name="connsiteX125" fmla="*/ 66 w 1650905"/>
                <a:gd name="connsiteY125" fmla="*/ 7350 h 221262"/>
                <a:gd name="connsiteX126" fmla="*/ 53365 w 1650905"/>
                <a:gd name="connsiteY126" fmla="*/ 219655 h 221262"/>
                <a:gd name="connsiteX127" fmla="*/ 55412 w 1650905"/>
                <a:gd name="connsiteY127" fmla="*/ 221261 h 221262"/>
                <a:gd name="connsiteX128" fmla="*/ 1596004 w 1650905"/>
                <a:gd name="connsiteY128" fmla="*/ 221262 h 221262"/>
                <a:gd name="connsiteX129" fmla="*/ 1609657 w 1650905"/>
                <a:gd name="connsiteY129" fmla="*/ 220813 h 221262"/>
                <a:gd name="connsiteX130" fmla="*/ 1624174 w 1650905"/>
                <a:gd name="connsiteY130" fmla="*/ 219606 h 221262"/>
                <a:gd name="connsiteX131" fmla="*/ 1638257 w 1650905"/>
                <a:gd name="connsiteY131" fmla="*/ 217794 h 221262"/>
                <a:gd name="connsiteX132" fmla="*/ 1649147 w 1650905"/>
                <a:gd name="connsiteY132" fmla="*/ 216116 h 221262"/>
                <a:gd name="connsiteX133" fmla="*/ 1650905 w 1650905"/>
                <a:gd name="connsiteY133" fmla="*/ 214018 h 221262"/>
                <a:gd name="connsiteX134" fmla="*/ 1650905 w 1650905"/>
                <a:gd name="connsiteY134" fmla="*/ 191112 h 221262"/>
                <a:gd name="connsiteX135" fmla="*/ 1650905 w 1650905"/>
                <a:gd name="connsiteY135" fmla="*/ 155241 h 221262"/>
                <a:gd name="connsiteX136" fmla="*/ 1650905 w 1650905"/>
                <a:gd name="connsiteY136" fmla="*/ 112736 h 221262"/>
                <a:gd name="connsiteX137" fmla="*/ 1650905 w 1650905"/>
                <a:gd name="connsiteY137" fmla="*/ 68122 h 221262"/>
                <a:gd name="connsiteX138" fmla="*/ 1650905 w 1650905"/>
                <a:gd name="connsiteY138" fmla="*/ 26519 h 221262"/>
                <a:gd name="connsiteX139" fmla="*/ 1650905 w 1650905"/>
                <a:gd name="connsiteY139" fmla="*/ 3571 h 221262"/>
                <a:gd name="connsiteX140" fmla="*/ 1648793 w 1650905"/>
                <a:gd name="connsiteY140" fmla="*/ 1447 h 221262"/>
                <a:gd name="connsiteX141" fmla="*/ 1630609 w 1650905"/>
                <a:gd name="connsiteY141" fmla="*/ 1447 h 221262"/>
                <a:gd name="connsiteX142" fmla="*/ 1622165 w 1650905"/>
                <a:gd name="connsiteY142" fmla="*/ 9950 h 221262"/>
                <a:gd name="connsiteX143" fmla="*/ 1622165 w 1650905"/>
                <a:gd name="connsiteY143" fmla="*/ 57267 h 221262"/>
                <a:gd name="connsiteX144" fmla="*/ 1556480 w 1650905"/>
                <a:gd name="connsiteY144" fmla="*/ 61339 h 221262"/>
                <a:gd name="connsiteX145" fmla="*/ 1532477 w 1650905"/>
                <a:gd name="connsiteY145" fmla="*/ 78521 h 221262"/>
                <a:gd name="connsiteX146" fmla="*/ 1517674 w 1650905"/>
                <a:gd name="connsiteY146" fmla="*/ 105200 h 221262"/>
                <a:gd name="connsiteX147" fmla="*/ 1512644 w 1650905"/>
                <a:gd name="connsiteY147" fmla="*/ 139864 h 221262"/>
                <a:gd name="connsiteX148" fmla="*/ 1518972 w 1650905"/>
                <a:gd name="connsiteY148" fmla="*/ 174988 h 221262"/>
                <a:gd name="connsiteX149" fmla="*/ 1536499 w 1650905"/>
                <a:gd name="connsiteY149" fmla="*/ 200460 h 221262"/>
                <a:gd name="connsiteX150" fmla="*/ 1562945 w 1650905"/>
                <a:gd name="connsiteY150" fmla="*/ 215986 h 221262"/>
                <a:gd name="connsiteX151" fmla="*/ 1596004 w 1650905"/>
                <a:gd name="connsiteY151" fmla="*/ 221262 h 221262"/>
                <a:gd name="connsiteX152" fmla="*/ 1396525 w 1650905"/>
                <a:gd name="connsiteY152" fmla="*/ 221262 h 221262"/>
                <a:gd name="connsiteX153" fmla="*/ 1451871 w 1650905"/>
                <a:gd name="connsiteY153" fmla="*/ 203776 h 221262"/>
                <a:gd name="connsiteX154" fmla="*/ 1451871 w 1650905"/>
                <a:gd name="connsiteY154" fmla="*/ 211765 h 221262"/>
                <a:gd name="connsiteX155" fmla="*/ 1458911 w 1650905"/>
                <a:gd name="connsiteY155" fmla="*/ 218849 h 221262"/>
                <a:gd name="connsiteX156" fmla="*/ 1476206 w 1650905"/>
                <a:gd name="connsiteY156" fmla="*/ 218849 h 221262"/>
                <a:gd name="connsiteX157" fmla="*/ 1478314 w 1650905"/>
                <a:gd name="connsiteY157" fmla="*/ 216725 h 221262"/>
                <a:gd name="connsiteX158" fmla="*/ 1478314 w 1650905"/>
                <a:gd name="connsiteY158" fmla="*/ 67666 h 221262"/>
                <a:gd name="connsiteX159" fmla="*/ 1471278 w 1650905"/>
                <a:gd name="connsiteY159" fmla="*/ 60582 h 221262"/>
                <a:gd name="connsiteX160" fmla="*/ 1451681 w 1650905"/>
                <a:gd name="connsiteY160" fmla="*/ 60582 h 221262"/>
                <a:gd name="connsiteX161" fmla="*/ 1449573 w 1650905"/>
                <a:gd name="connsiteY161" fmla="*/ 62706 h 221262"/>
                <a:gd name="connsiteX162" fmla="*/ 1449573 w 1650905"/>
                <a:gd name="connsiteY162" fmla="*/ 180865 h 221262"/>
                <a:gd name="connsiteX163" fmla="*/ 1393214 w 1650905"/>
                <a:gd name="connsiteY163" fmla="*/ 194640 h 221262"/>
                <a:gd name="connsiteX164" fmla="*/ 1378001 w 1650905"/>
                <a:gd name="connsiteY164" fmla="*/ 159462 h 221262"/>
                <a:gd name="connsiteX165" fmla="*/ 1378001 w 1650905"/>
                <a:gd name="connsiteY165" fmla="*/ 67666 h 221262"/>
                <a:gd name="connsiteX166" fmla="*/ 1370962 w 1650905"/>
                <a:gd name="connsiteY166" fmla="*/ 60582 h 221262"/>
                <a:gd name="connsiteX167" fmla="*/ 1351369 w 1650905"/>
                <a:gd name="connsiteY167" fmla="*/ 60582 h 221262"/>
                <a:gd name="connsiteX168" fmla="*/ 1349257 w 1650905"/>
                <a:gd name="connsiteY168" fmla="*/ 62706 h 221262"/>
                <a:gd name="connsiteX169" fmla="*/ 1349257 w 1650905"/>
                <a:gd name="connsiteY169" fmla="*/ 172122 h 221262"/>
                <a:gd name="connsiteX170" fmla="*/ 1353134 w 1650905"/>
                <a:gd name="connsiteY170" fmla="*/ 196091 h 221262"/>
                <a:gd name="connsiteX171" fmla="*/ 1363340 w 1650905"/>
                <a:gd name="connsiteY171" fmla="*/ 211164 h 221262"/>
                <a:gd name="connsiteX172" fmla="*/ 1396525 w 1650905"/>
                <a:gd name="connsiteY172" fmla="*/ 221262 h 221262"/>
                <a:gd name="connsiteX173" fmla="*/ 1240032 w 1650905"/>
                <a:gd name="connsiteY173" fmla="*/ 221262 h 221262"/>
                <a:gd name="connsiteX174" fmla="*/ 1270641 w 1650905"/>
                <a:gd name="connsiteY174" fmla="*/ 215084 h 221262"/>
                <a:gd name="connsiteX175" fmla="*/ 1294793 w 1650905"/>
                <a:gd name="connsiteY175" fmla="*/ 197750 h 221262"/>
                <a:gd name="connsiteX176" fmla="*/ 1310596 w 1650905"/>
                <a:gd name="connsiteY176" fmla="*/ 171068 h 221262"/>
                <a:gd name="connsiteX177" fmla="*/ 1316208 w 1650905"/>
                <a:gd name="connsiteY177" fmla="*/ 137154 h 221262"/>
                <a:gd name="connsiteX178" fmla="*/ 1311029 w 1650905"/>
                <a:gd name="connsiteY178" fmla="*/ 102939 h 221262"/>
                <a:gd name="connsiteX179" fmla="*/ 1296083 w 1650905"/>
                <a:gd name="connsiteY179" fmla="*/ 77162 h 221262"/>
                <a:gd name="connsiteX180" fmla="*/ 1272224 w 1650905"/>
                <a:gd name="connsiteY180" fmla="*/ 60883 h 221262"/>
                <a:gd name="connsiteX181" fmla="*/ 1240032 w 1650905"/>
                <a:gd name="connsiteY181" fmla="*/ 55158 h 221262"/>
                <a:gd name="connsiteX182" fmla="*/ 1207696 w 1650905"/>
                <a:gd name="connsiteY182" fmla="*/ 60883 h 221262"/>
                <a:gd name="connsiteX183" fmla="*/ 1183837 w 1650905"/>
                <a:gd name="connsiteY183" fmla="*/ 77162 h 221262"/>
                <a:gd name="connsiteX184" fmla="*/ 1169035 w 1650905"/>
                <a:gd name="connsiteY184" fmla="*/ 102939 h 221262"/>
                <a:gd name="connsiteX185" fmla="*/ 1163860 w 1650905"/>
                <a:gd name="connsiteY185" fmla="*/ 137154 h 221262"/>
                <a:gd name="connsiteX186" fmla="*/ 1168890 w 1650905"/>
                <a:gd name="connsiteY186" fmla="*/ 171220 h 221262"/>
                <a:gd name="connsiteX187" fmla="*/ 1183693 w 1650905"/>
                <a:gd name="connsiteY187" fmla="*/ 197750 h 221262"/>
                <a:gd name="connsiteX188" fmla="*/ 1207696 w 1650905"/>
                <a:gd name="connsiteY188" fmla="*/ 215084 h 221262"/>
                <a:gd name="connsiteX189" fmla="*/ 1240032 w 1650905"/>
                <a:gd name="connsiteY189" fmla="*/ 221262 h 2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</a:cxnLst>
              <a:rect l="l" t="t" r="r" b="b"/>
              <a:pathLst>
                <a:path w="1650905" h="221262">
                  <a:moveTo>
                    <a:pt x="703943" y="126778"/>
                  </a:moveTo>
                  <a:cubicBezTo>
                    <a:pt x="704323" y="111104"/>
                    <a:pt x="708878" y="77342"/>
                    <a:pt x="747036" y="77342"/>
                  </a:cubicBezTo>
                  <a:cubicBezTo>
                    <a:pt x="785195" y="77342"/>
                    <a:pt x="784164" y="119546"/>
                    <a:pt x="784358" y="126778"/>
                  </a:cubicBezTo>
                  <a:close/>
                  <a:moveTo>
                    <a:pt x="544563" y="197113"/>
                  </a:moveTo>
                  <a:cubicBezTo>
                    <a:pt x="501518" y="203976"/>
                    <a:pt x="470400" y="198213"/>
                    <a:pt x="470400" y="170054"/>
                  </a:cubicBezTo>
                  <a:cubicBezTo>
                    <a:pt x="470400" y="164227"/>
                    <a:pt x="471655" y="159591"/>
                    <a:pt x="473706" y="155883"/>
                  </a:cubicBezTo>
                  <a:cubicBezTo>
                    <a:pt x="482698" y="139623"/>
                    <a:pt x="505655" y="137126"/>
                    <a:pt x="544563" y="142923"/>
                  </a:cubicBezTo>
                  <a:close/>
                  <a:moveTo>
                    <a:pt x="1597153" y="198355"/>
                  </a:moveTo>
                  <a:cubicBezTo>
                    <a:pt x="1588531" y="198355"/>
                    <a:pt x="1580863" y="196894"/>
                    <a:pt x="1574159" y="193978"/>
                  </a:cubicBezTo>
                  <a:cubicBezTo>
                    <a:pt x="1567446" y="191070"/>
                    <a:pt x="1561841" y="186997"/>
                    <a:pt x="1557343" y="181771"/>
                  </a:cubicBezTo>
                  <a:cubicBezTo>
                    <a:pt x="1552838" y="176549"/>
                    <a:pt x="1549387" y="170314"/>
                    <a:pt x="1546993" y="163082"/>
                  </a:cubicBezTo>
                  <a:cubicBezTo>
                    <a:pt x="1544596" y="155850"/>
                    <a:pt x="1543401" y="147807"/>
                    <a:pt x="1543401" y="138962"/>
                  </a:cubicBezTo>
                  <a:cubicBezTo>
                    <a:pt x="1543401" y="118270"/>
                    <a:pt x="1547857" y="102988"/>
                    <a:pt x="1556765" y="93141"/>
                  </a:cubicBezTo>
                  <a:cubicBezTo>
                    <a:pt x="1565677" y="83298"/>
                    <a:pt x="1578660" y="78369"/>
                    <a:pt x="1595719" y="78369"/>
                  </a:cubicBezTo>
                  <a:cubicBezTo>
                    <a:pt x="1598972" y="78369"/>
                    <a:pt x="1602659" y="78574"/>
                    <a:pt x="1606784" y="78974"/>
                  </a:cubicBezTo>
                  <a:cubicBezTo>
                    <a:pt x="1610901" y="79377"/>
                    <a:pt x="1616027" y="80082"/>
                    <a:pt x="1622165" y="81083"/>
                  </a:cubicBezTo>
                  <a:lnTo>
                    <a:pt x="1622165" y="196844"/>
                  </a:lnTo>
                  <a:cubicBezTo>
                    <a:pt x="1616027" y="197446"/>
                    <a:pt x="1610997" y="197853"/>
                    <a:pt x="1607070" y="198047"/>
                  </a:cubicBezTo>
                  <a:cubicBezTo>
                    <a:pt x="1603139" y="198249"/>
                    <a:pt x="1599832" y="198355"/>
                    <a:pt x="1597153" y="198355"/>
                  </a:cubicBezTo>
                  <a:close/>
                  <a:moveTo>
                    <a:pt x="1240032" y="198652"/>
                  </a:moveTo>
                  <a:cubicBezTo>
                    <a:pt x="1225085" y="198652"/>
                    <a:pt x="1213776" y="193125"/>
                    <a:pt x="1206113" y="182072"/>
                  </a:cubicBezTo>
                  <a:cubicBezTo>
                    <a:pt x="1198453" y="171018"/>
                    <a:pt x="1194617" y="156048"/>
                    <a:pt x="1194617" y="137154"/>
                  </a:cubicBezTo>
                  <a:cubicBezTo>
                    <a:pt x="1194617" y="118465"/>
                    <a:pt x="1198453" y="103894"/>
                    <a:pt x="1206113" y="93442"/>
                  </a:cubicBezTo>
                  <a:cubicBezTo>
                    <a:pt x="1213776" y="82997"/>
                    <a:pt x="1225085" y="77764"/>
                    <a:pt x="1240032" y="77764"/>
                  </a:cubicBezTo>
                  <a:cubicBezTo>
                    <a:pt x="1254979" y="77764"/>
                    <a:pt x="1266284" y="82997"/>
                    <a:pt x="1273952" y="93442"/>
                  </a:cubicBezTo>
                  <a:cubicBezTo>
                    <a:pt x="1281611" y="103894"/>
                    <a:pt x="1285451" y="118465"/>
                    <a:pt x="1285451" y="137154"/>
                  </a:cubicBezTo>
                  <a:cubicBezTo>
                    <a:pt x="1285451" y="156048"/>
                    <a:pt x="1281611" y="171018"/>
                    <a:pt x="1273952" y="182072"/>
                  </a:cubicBezTo>
                  <a:cubicBezTo>
                    <a:pt x="1266284" y="193125"/>
                    <a:pt x="1254979" y="198652"/>
                    <a:pt x="1240032" y="198652"/>
                  </a:cubicBezTo>
                  <a:close/>
                  <a:moveTo>
                    <a:pt x="1016439" y="221001"/>
                  </a:moveTo>
                  <a:cubicBezTo>
                    <a:pt x="1034271" y="222038"/>
                    <a:pt x="1054114" y="219953"/>
                    <a:pt x="1075329" y="215362"/>
                  </a:cubicBezTo>
                  <a:cubicBezTo>
                    <a:pt x="1076307" y="215149"/>
                    <a:pt x="1077023" y="214266"/>
                    <a:pt x="1077023" y="213257"/>
                  </a:cubicBezTo>
                  <a:lnTo>
                    <a:pt x="1077023" y="195090"/>
                  </a:lnTo>
                  <a:cubicBezTo>
                    <a:pt x="1077023" y="192463"/>
                    <a:pt x="1074701" y="190461"/>
                    <a:pt x="1072129" y="190895"/>
                  </a:cubicBezTo>
                  <a:cubicBezTo>
                    <a:pt x="1064313" y="192227"/>
                    <a:pt x="1053495" y="193377"/>
                    <a:pt x="1046387" y="193856"/>
                  </a:cubicBezTo>
                  <a:cubicBezTo>
                    <a:pt x="964271" y="199414"/>
                    <a:pt x="959610" y="143445"/>
                    <a:pt x="959610" y="110688"/>
                  </a:cubicBezTo>
                  <a:cubicBezTo>
                    <a:pt x="959610" y="80847"/>
                    <a:pt x="967323" y="16120"/>
                    <a:pt x="1048134" y="27787"/>
                  </a:cubicBezTo>
                  <a:cubicBezTo>
                    <a:pt x="1061673" y="29739"/>
                    <a:pt x="1065523" y="30230"/>
                    <a:pt x="1072156" y="31251"/>
                  </a:cubicBezTo>
                  <a:cubicBezTo>
                    <a:pt x="1074709" y="31643"/>
                    <a:pt x="1077019" y="29652"/>
                    <a:pt x="1077019" y="27052"/>
                  </a:cubicBezTo>
                  <a:lnTo>
                    <a:pt x="1077019" y="7834"/>
                  </a:lnTo>
                  <a:cubicBezTo>
                    <a:pt x="1077019" y="6814"/>
                    <a:pt x="1076292" y="5931"/>
                    <a:pt x="1075299" y="5725"/>
                  </a:cubicBezTo>
                  <a:cubicBezTo>
                    <a:pt x="986817" y="-12267"/>
                    <a:pt x="927555" y="9357"/>
                    <a:pt x="927555" y="110688"/>
                  </a:cubicBezTo>
                  <a:cubicBezTo>
                    <a:pt x="927555" y="186676"/>
                    <a:pt x="962945" y="217890"/>
                    <a:pt x="1016439" y="221001"/>
                  </a:cubicBezTo>
                  <a:close/>
                  <a:moveTo>
                    <a:pt x="507051" y="221002"/>
                  </a:moveTo>
                  <a:cubicBezTo>
                    <a:pt x="525936" y="221961"/>
                    <a:pt x="552824" y="220134"/>
                    <a:pt x="571511" y="217641"/>
                  </a:cubicBezTo>
                  <a:cubicBezTo>
                    <a:pt x="572203" y="216830"/>
                    <a:pt x="572618" y="216339"/>
                    <a:pt x="573307" y="215528"/>
                  </a:cubicBezTo>
                  <a:lnTo>
                    <a:pt x="573307" y="102226"/>
                  </a:lnTo>
                  <a:cubicBezTo>
                    <a:pt x="573307" y="63873"/>
                    <a:pt x="514178" y="43658"/>
                    <a:pt x="450498" y="72567"/>
                  </a:cubicBezTo>
                  <a:cubicBezTo>
                    <a:pt x="449734" y="72909"/>
                    <a:pt x="449231" y="73694"/>
                    <a:pt x="449231" y="74535"/>
                  </a:cubicBezTo>
                  <a:lnTo>
                    <a:pt x="449231" y="94609"/>
                  </a:lnTo>
                  <a:cubicBezTo>
                    <a:pt x="449231" y="96204"/>
                    <a:pt x="450879" y="97190"/>
                    <a:pt x="452291" y="96471"/>
                  </a:cubicBezTo>
                  <a:cubicBezTo>
                    <a:pt x="489581" y="77450"/>
                    <a:pt x="544563" y="79955"/>
                    <a:pt x="544277" y="108289"/>
                  </a:cubicBezTo>
                  <a:cubicBezTo>
                    <a:pt x="544251" y="110885"/>
                    <a:pt x="544292" y="117759"/>
                    <a:pt x="544277" y="120618"/>
                  </a:cubicBezTo>
                  <a:cubicBezTo>
                    <a:pt x="539285" y="120618"/>
                    <a:pt x="496035" y="112354"/>
                    <a:pt x="468246" y="125886"/>
                  </a:cubicBezTo>
                  <a:cubicBezTo>
                    <a:pt x="446438" y="136509"/>
                    <a:pt x="440506" y="156896"/>
                    <a:pt x="440506" y="169152"/>
                  </a:cubicBezTo>
                  <a:cubicBezTo>
                    <a:pt x="440506" y="182212"/>
                    <a:pt x="443425" y="217755"/>
                    <a:pt x="507051" y="221002"/>
                  </a:cubicBezTo>
                  <a:close/>
                  <a:moveTo>
                    <a:pt x="753524" y="221137"/>
                  </a:moveTo>
                  <a:cubicBezTo>
                    <a:pt x="778722" y="222244"/>
                    <a:pt x="795819" y="215755"/>
                    <a:pt x="806831" y="210407"/>
                  </a:cubicBezTo>
                  <a:cubicBezTo>
                    <a:pt x="807558" y="210053"/>
                    <a:pt x="807995" y="209314"/>
                    <a:pt x="807995" y="208496"/>
                  </a:cubicBezTo>
                  <a:lnTo>
                    <a:pt x="807995" y="191695"/>
                  </a:lnTo>
                  <a:cubicBezTo>
                    <a:pt x="807995" y="190161"/>
                    <a:pt x="806443" y="189137"/>
                    <a:pt x="805046" y="189750"/>
                  </a:cubicBezTo>
                  <a:cubicBezTo>
                    <a:pt x="792002" y="195471"/>
                    <a:pt x="773924" y="201668"/>
                    <a:pt x="748798" y="198447"/>
                  </a:cubicBezTo>
                  <a:cubicBezTo>
                    <a:pt x="727394" y="195703"/>
                    <a:pt x="702698" y="179770"/>
                    <a:pt x="702409" y="148181"/>
                  </a:cubicBezTo>
                  <a:lnTo>
                    <a:pt x="812748" y="148181"/>
                  </a:lnTo>
                  <a:cubicBezTo>
                    <a:pt x="814301" y="148181"/>
                    <a:pt x="815560" y="146914"/>
                    <a:pt x="815560" y="145349"/>
                  </a:cubicBezTo>
                  <a:lnTo>
                    <a:pt x="815560" y="140352"/>
                  </a:lnTo>
                  <a:cubicBezTo>
                    <a:pt x="815560" y="89800"/>
                    <a:pt x="789704" y="55939"/>
                    <a:pt x="745788" y="55939"/>
                  </a:cubicBezTo>
                  <a:cubicBezTo>
                    <a:pt x="702698" y="55939"/>
                    <a:pt x="671104" y="85427"/>
                    <a:pt x="671104" y="135225"/>
                  </a:cubicBezTo>
                  <a:cubicBezTo>
                    <a:pt x="671104" y="162352"/>
                    <a:pt x="678144" y="183454"/>
                    <a:pt x="692215" y="198527"/>
                  </a:cubicBezTo>
                  <a:cubicBezTo>
                    <a:pt x="706283" y="213600"/>
                    <a:pt x="726785" y="219965"/>
                    <a:pt x="753524" y="221137"/>
                  </a:cubicBezTo>
                  <a:close/>
                  <a:moveTo>
                    <a:pt x="1103606" y="221261"/>
                  </a:moveTo>
                  <a:lnTo>
                    <a:pt x="1128119" y="221261"/>
                  </a:lnTo>
                  <a:cubicBezTo>
                    <a:pt x="1129287" y="221261"/>
                    <a:pt x="1130234" y="220310"/>
                    <a:pt x="1130234" y="219134"/>
                  </a:cubicBezTo>
                  <a:lnTo>
                    <a:pt x="1130234" y="13261"/>
                  </a:lnTo>
                  <a:cubicBezTo>
                    <a:pt x="1130234" y="8568"/>
                    <a:pt x="1126452" y="4762"/>
                    <a:pt x="1121787" y="4762"/>
                  </a:cubicBezTo>
                  <a:lnTo>
                    <a:pt x="1103606" y="4762"/>
                  </a:lnTo>
                  <a:cubicBezTo>
                    <a:pt x="1102437" y="4762"/>
                    <a:pt x="1101490" y="5714"/>
                    <a:pt x="1101490" y="6886"/>
                  </a:cubicBezTo>
                  <a:lnTo>
                    <a:pt x="1101490" y="219134"/>
                  </a:lnTo>
                  <a:cubicBezTo>
                    <a:pt x="1101490" y="220310"/>
                    <a:pt x="1102437" y="221261"/>
                    <a:pt x="1103606" y="221261"/>
                  </a:cubicBezTo>
                  <a:close/>
                  <a:moveTo>
                    <a:pt x="612098" y="221261"/>
                  </a:moveTo>
                  <a:lnTo>
                    <a:pt x="636615" y="221261"/>
                  </a:lnTo>
                  <a:cubicBezTo>
                    <a:pt x="637779" y="221261"/>
                    <a:pt x="638727" y="220310"/>
                    <a:pt x="638727" y="219134"/>
                  </a:cubicBezTo>
                  <a:lnTo>
                    <a:pt x="638727" y="12485"/>
                  </a:lnTo>
                  <a:cubicBezTo>
                    <a:pt x="638727" y="8218"/>
                    <a:pt x="635287" y="4762"/>
                    <a:pt x="631051" y="4762"/>
                  </a:cubicBezTo>
                  <a:lnTo>
                    <a:pt x="612098" y="4762"/>
                  </a:lnTo>
                  <a:cubicBezTo>
                    <a:pt x="610930" y="4762"/>
                    <a:pt x="609986" y="5714"/>
                    <a:pt x="609986" y="6886"/>
                  </a:cubicBezTo>
                  <a:lnTo>
                    <a:pt x="609986" y="219134"/>
                  </a:lnTo>
                  <a:cubicBezTo>
                    <a:pt x="609986" y="220310"/>
                    <a:pt x="610930" y="221261"/>
                    <a:pt x="612098" y="221261"/>
                  </a:cubicBezTo>
                  <a:close/>
                  <a:moveTo>
                    <a:pt x="281076" y="221261"/>
                  </a:moveTo>
                  <a:lnTo>
                    <a:pt x="305593" y="221261"/>
                  </a:lnTo>
                  <a:cubicBezTo>
                    <a:pt x="306761" y="221261"/>
                    <a:pt x="307705" y="220310"/>
                    <a:pt x="307705" y="219134"/>
                  </a:cubicBezTo>
                  <a:lnTo>
                    <a:pt x="307705" y="104682"/>
                  </a:lnTo>
                  <a:cubicBezTo>
                    <a:pt x="332982" y="83366"/>
                    <a:pt x="383017" y="73443"/>
                    <a:pt x="383017" y="116051"/>
                  </a:cubicBezTo>
                  <a:lnTo>
                    <a:pt x="383017" y="219134"/>
                  </a:lnTo>
                  <a:cubicBezTo>
                    <a:pt x="383017" y="220310"/>
                    <a:pt x="383960" y="221261"/>
                    <a:pt x="385129" y="221261"/>
                  </a:cubicBezTo>
                  <a:lnTo>
                    <a:pt x="409649" y="221261"/>
                  </a:lnTo>
                  <a:cubicBezTo>
                    <a:pt x="410817" y="221261"/>
                    <a:pt x="411761" y="220310"/>
                    <a:pt x="411761" y="219134"/>
                  </a:cubicBezTo>
                  <a:lnTo>
                    <a:pt x="411761" y="108819"/>
                  </a:lnTo>
                  <a:cubicBezTo>
                    <a:pt x="411761" y="53928"/>
                    <a:pt x="357081" y="43556"/>
                    <a:pt x="307480" y="75422"/>
                  </a:cubicBezTo>
                  <a:lnTo>
                    <a:pt x="307480" y="13262"/>
                  </a:lnTo>
                  <a:cubicBezTo>
                    <a:pt x="307480" y="8568"/>
                    <a:pt x="303702" y="4762"/>
                    <a:pt x="299040" y="4762"/>
                  </a:cubicBezTo>
                  <a:lnTo>
                    <a:pt x="281076" y="4762"/>
                  </a:lnTo>
                  <a:cubicBezTo>
                    <a:pt x="279908" y="4762"/>
                    <a:pt x="278964" y="5714"/>
                    <a:pt x="278964" y="6886"/>
                  </a:cubicBezTo>
                  <a:lnTo>
                    <a:pt x="278964" y="219134"/>
                  </a:lnTo>
                  <a:cubicBezTo>
                    <a:pt x="278964" y="220310"/>
                    <a:pt x="279908" y="221261"/>
                    <a:pt x="281076" y="221261"/>
                  </a:cubicBezTo>
                  <a:close/>
                  <a:moveTo>
                    <a:pt x="55412" y="221261"/>
                  </a:moveTo>
                  <a:lnTo>
                    <a:pt x="92737" y="221261"/>
                  </a:lnTo>
                  <a:cubicBezTo>
                    <a:pt x="94929" y="221261"/>
                    <a:pt x="96824" y="219716"/>
                    <a:pt x="97277" y="217554"/>
                  </a:cubicBezTo>
                  <a:lnTo>
                    <a:pt x="133521" y="42643"/>
                  </a:lnTo>
                  <a:lnTo>
                    <a:pt x="168757" y="217531"/>
                  </a:lnTo>
                  <a:cubicBezTo>
                    <a:pt x="169199" y="219705"/>
                    <a:pt x="171101" y="221261"/>
                    <a:pt x="173305" y="221261"/>
                  </a:cubicBezTo>
                  <a:lnTo>
                    <a:pt x="208335" y="221261"/>
                  </a:lnTo>
                  <a:cubicBezTo>
                    <a:pt x="209302" y="221261"/>
                    <a:pt x="210150" y="220599"/>
                    <a:pt x="210382" y="219651"/>
                  </a:cubicBezTo>
                  <a:lnTo>
                    <a:pt x="263187" y="7347"/>
                  </a:lnTo>
                  <a:cubicBezTo>
                    <a:pt x="263522" y="6007"/>
                    <a:pt x="262513" y="4705"/>
                    <a:pt x="261140" y="4705"/>
                  </a:cubicBezTo>
                  <a:lnTo>
                    <a:pt x="237989" y="4705"/>
                  </a:lnTo>
                  <a:cubicBezTo>
                    <a:pt x="234568" y="4705"/>
                    <a:pt x="231577" y="7053"/>
                    <a:pt x="230755" y="10399"/>
                  </a:cubicBezTo>
                  <a:lnTo>
                    <a:pt x="188259" y="182030"/>
                  </a:lnTo>
                  <a:lnTo>
                    <a:pt x="155664" y="10913"/>
                  </a:lnTo>
                  <a:cubicBezTo>
                    <a:pt x="154990" y="7377"/>
                    <a:pt x="151919" y="4819"/>
                    <a:pt x="148339" y="4819"/>
                  </a:cubicBezTo>
                  <a:lnTo>
                    <a:pt x="119218" y="4819"/>
                  </a:lnTo>
                  <a:cubicBezTo>
                    <a:pt x="115664" y="4819"/>
                    <a:pt x="112608" y="7339"/>
                    <a:pt x="111904" y="10845"/>
                  </a:cubicBezTo>
                  <a:lnTo>
                    <a:pt x="76603" y="187499"/>
                  </a:lnTo>
                  <a:lnTo>
                    <a:pt x="33963" y="10445"/>
                  </a:lnTo>
                  <a:cubicBezTo>
                    <a:pt x="33152" y="7076"/>
                    <a:pt x="30157" y="4705"/>
                    <a:pt x="26717" y="4705"/>
                  </a:cubicBezTo>
                  <a:lnTo>
                    <a:pt x="2109" y="4705"/>
                  </a:lnTo>
                  <a:cubicBezTo>
                    <a:pt x="736" y="4705"/>
                    <a:pt x="-273" y="6011"/>
                    <a:pt x="66" y="7350"/>
                  </a:cubicBezTo>
                  <a:lnTo>
                    <a:pt x="53365" y="219655"/>
                  </a:lnTo>
                  <a:cubicBezTo>
                    <a:pt x="53605" y="220599"/>
                    <a:pt x="54446" y="221261"/>
                    <a:pt x="55412" y="221261"/>
                  </a:cubicBezTo>
                  <a:close/>
                  <a:moveTo>
                    <a:pt x="1596004" y="221262"/>
                  </a:moveTo>
                  <a:cubicBezTo>
                    <a:pt x="1600213" y="221262"/>
                    <a:pt x="1604775" y="221109"/>
                    <a:pt x="1609657" y="220813"/>
                  </a:cubicBezTo>
                  <a:cubicBezTo>
                    <a:pt x="1614543" y="220508"/>
                    <a:pt x="1619383" y="220101"/>
                    <a:pt x="1624174" y="219606"/>
                  </a:cubicBezTo>
                  <a:cubicBezTo>
                    <a:pt x="1628961" y="219100"/>
                    <a:pt x="1633660" y="218498"/>
                    <a:pt x="1638257" y="217794"/>
                  </a:cubicBezTo>
                  <a:cubicBezTo>
                    <a:pt x="1642165" y="217200"/>
                    <a:pt x="1645791" y="216633"/>
                    <a:pt x="1649147" y="216116"/>
                  </a:cubicBezTo>
                  <a:cubicBezTo>
                    <a:pt x="1650175" y="215952"/>
                    <a:pt x="1650905" y="215065"/>
                    <a:pt x="1650905" y="214018"/>
                  </a:cubicBezTo>
                  <a:lnTo>
                    <a:pt x="1650905" y="191112"/>
                  </a:lnTo>
                  <a:lnTo>
                    <a:pt x="1650905" y="155241"/>
                  </a:lnTo>
                  <a:lnTo>
                    <a:pt x="1650905" y="112736"/>
                  </a:lnTo>
                  <a:lnTo>
                    <a:pt x="1650905" y="68122"/>
                  </a:lnTo>
                  <a:lnTo>
                    <a:pt x="1650905" y="26519"/>
                  </a:lnTo>
                  <a:lnTo>
                    <a:pt x="1650905" y="3571"/>
                  </a:lnTo>
                  <a:cubicBezTo>
                    <a:pt x="1650905" y="2399"/>
                    <a:pt x="1649958" y="1447"/>
                    <a:pt x="1648793" y="1447"/>
                  </a:cubicBezTo>
                  <a:lnTo>
                    <a:pt x="1630609" y="1447"/>
                  </a:lnTo>
                  <a:cubicBezTo>
                    <a:pt x="1625943" y="1447"/>
                    <a:pt x="1622165" y="5253"/>
                    <a:pt x="1622165" y="9950"/>
                  </a:cubicBezTo>
                  <a:lnTo>
                    <a:pt x="1622165" y="57267"/>
                  </a:lnTo>
                  <a:cubicBezTo>
                    <a:pt x="1594699" y="51565"/>
                    <a:pt x="1571944" y="54690"/>
                    <a:pt x="1556480" y="61339"/>
                  </a:cubicBezTo>
                  <a:cubicBezTo>
                    <a:pt x="1546978" y="65424"/>
                    <a:pt x="1538995" y="71186"/>
                    <a:pt x="1532477" y="78521"/>
                  </a:cubicBezTo>
                  <a:cubicBezTo>
                    <a:pt x="1525962" y="85860"/>
                    <a:pt x="1521027" y="94755"/>
                    <a:pt x="1517674" y="105200"/>
                  </a:cubicBezTo>
                  <a:cubicBezTo>
                    <a:pt x="1514318" y="115652"/>
                    <a:pt x="1512644" y="127204"/>
                    <a:pt x="1512644" y="139864"/>
                  </a:cubicBezTo>
                  <a:cubicBezTo>
                    <a:pt x="1512644" y="153136"/>
                    <a:pt x="1514752" y="164844"/>
                    <a:pt x="1518972" y="174988"/>
                  </a:cubicBezTo>
                  <a:cubicBezTo>
                    <a:pt x="1523181" y="185140"/>
                    <a:pt x="1529029" y="193632"/>
                    <a:pt x="1536499" y="200460"/>
                  </a:cubicBezTo>
                  <a:cubicBezTo>
                    <a:pt x="1543976" y="207296"/>
                    <a:pt x="1552792" y="212477"/>
                    <a:pt x="1562945" y="215986"/>
                  </a:cubicBezTo>
                  <a:cubicBezTo>
                    <a:pt x="1573105" y="219499"/>
                    <a:pt x="1584121" y="221262"/>
                    <a:pt x="1596004" y="221262"/>
                  </a:cubicBezTo>
                  <a:close/>
                  <a:moveTo>
                    <a:pt x="1396525" y="221262"/>
                  </a:moveTo>
                  <a:cubicBezTo>
                    <a:pt x="1420726" y="221262"/>
                    <a:pt x="1440170" y="210775"/>
                    <a:pt x="1451871" y="203776"/>
                  </a:cubicBezTo>
                  <a:lnTo>
                    <a:pt x="1451871" y="211765"/>
                  </a:lnTo>
                  <a:cubicBezTo>
                    <a:pt x="1451871" y="215678"/>
                    <a:pt x="1455022" y="218849"/>
                    <a:pt x="1458911" y="218849"/>
                  </a:cubicBezTo>
                  <a:lnTo>
                    <a:pt x="1476206" y="218849"/>
                  </a:lnTo>
                  <a:cubicBezTo>
                    <a:pt x="1477370" y="218849"/>
                    <a:pt x="1478314" y="217897"/>
                    <a:pt x="1478314" y="216725"/>
                  </a:cubicBezTo>
                  <a:lnTo>
                    <a:pt x="1478314" y="67666"/>
                  </a:lnTo>
                  <a:cubicBezTo>
                    <a:pt x="1478314" y="63753"/>
                    <a:pt x="1475163" y="60582"/>
                    <a:pt x="1471278" y="60582"/>
                  </a:cubicBezTo>
                  <a:lnTo>
                    <a:pt x="1451681" y="60582"/>
                  </a:lnTo>
                  <a:cubicBezTo>
                    <a:pt x="1450517" y="60582"/>
                    <a:pt x="1449573" y="61534"/>
                    <a:pt x="1449573" y="62706"/>
                  </a:cubicBezTo>
                  <a:lnTo>
                    <a:pt x="1449573" y="180865"/>
                  </a:lnTo>
                  <a:cubicBezTo>
                    <a:pt x="1439756" y="187660"/>
                    <a:pt x="1412598" y="201092"/>
                    <a:pt x="1393214" y="194640"/>
                  </a:cubicBezTo>
                  <a:cubicBezTo>
                    <a:pt x="1383154" y="191291"/>
                    <a:pt x="1378001" y="182662"/>
                    <a:pt x="1378001" y="159462"/>
                  </a:cubicBezTo>
                  <a:lnTo>
                    <a:pt x="1378001" y="67666"/>
                  </a:lnTo>
                  <a:cubicBezTo>
                    <a:pt x="1378001" y="63753"/>
                    <a:pt x="1374851" y="60582"/>
                    <a:pt x="1370962" y="60582"/>
                  </a:cubicBezTo>
                  <a:lnTo>
                    <a:pt x="1351369" y="60582"/>
                  </a:lnTo>
                  <a:cubicBezTo>
                    <a:pt x="1350201" y="60582"/>
                    <a:pt x="1349257" y="61534"/>
                    <a:pt x="1349257" y="62706"/>
                  </a:cubicBezTo>
                  <a:lnTo>
                    <a:pt x="1349257" y="172122"/>
                  </a:lnTo>
                  <a:cubicBezTo>
                    <a:pt x="1349257" y="181771"/>
                    <a:pt x="1350547" y="189757"/>
                    <a:pt x="1353134" y="196091"/>
                  </a:cubicBezTo>
                  <a:cubicBezTo>
                    <a:pt x="1355722" y="202421"/>
                    <a:pt x="1359124" y="207445"/>
                    <a:pt x="1363340" y="211164"/>
                  </a:cubicBezTo>
                  <a:cubicBezTo>
                    <a:pt x="1367552" y="214879"/>
                    <a:pt x="1381867" y="221262"/>
                    <a:pt x="1396525" y="221262"/>
                  </a:cubicBezTo>
                  <a:close/>
                  <a:moveTo>
                    <a:pt x="1240032" y="221262"/>
                  </a:moveTo>
                  <a:cubicBezTo>
                    <a:pt x="1251143" y="221262"/>
                    <a:pt x="1261349" y="219199"/>
                    <a:pt x="1270641" y="215084"/>
                  </a:cubicBezTo>
                  <a:cubicBezTo>
                    <a:pt x="1279937" y="210966"/>
                    <a:pt x="1287985" y="205184"/>
                    <a:pt x="1294793" y="197750"/>
                  </a:cubicBezTo>
                  <a:cubicBezTo>
                    <a:pt x="1301589" y="190316"/>
                    <a:pt x="1306866" y="181421"/>
                    <a:pt x="1310596" y="171068"/>
                  </a:cubicBezTo>
                  <a:cubicBezTo>
                    <a:pt x="1314336" y="160719"/>
                    <a:pt x="1316208" y="149418"/>
                    <a:pt x="1316208" y="137154"/>
                  </a:cubicBezTo>
                  <a:cubicBezTo>
                    <a:pt x="1316208" y="124494"/>
                    <a:pt x="1314481" y="113090"/>
                    <a:pt x="1311029" y="102939"/>
                  </a:cubicBezTo>
                  <a:cubicBezTo>
                    <a:pt x="1307582" y="92795"/>
                    <a:pt x="1302597" y="84200"/>
                    <a:pt x="1296083" y="77162"/>
                  </a:cubicBezTo>
                  <a:cubicBezTo>
                    <a:pt x="1289568" y="70132"/>
                    <a:pt x="1281611" y="64708"/>
                    <a:pt x="1272224" y="60883"/>
                  </a:cubicBezTo>
                  <a:cubicBezTo>
                    <a:pt x="1262837" y="57069"/>
                    <a:pt x="1252102" y="55158"/>
                    <a:pt x="1240032" y="55158"/>
                  </a:cubicBezTo>
                  <a:cubicBezTo>
                    <a:pt x="1227962" y="55158"/>
                    <a:pt x="1217186" y="57069"/>
                    <a:pt x="1207696" y="60883"/>
                  </a:cubicBezTo>
                  <a:cubicBezTo>
                    <a:pt x="1198206" y="64708"/>
                    <a:pt x="1190257" y="70132"/>
                    <a:pt x="1183837" y="77162"/>
                  </a:cubicBezTo>
                  <a:cubicBezTo>
                    <a:pt x="1177414" y="84200"/>
                    <a:pt x="1172486" y="92795"/>
                    <a:pt x="1169035" y="102939"/>
                  </a:cubicBezTo>
                  <a:cubicBezTo>
                    <a:pt x="1165584" y="113090"/>
                    <a:pt x="1163860" y="124494"/>
                    <a:pt x="1163860" y="137154"/>
                  </a:cubicBezTo>
                  <a:cubicBezTo>
                    <a:pt x="1163860" y="149616"/>
                    <a:pt x="1165534" y="160970"/>
                    <a:pt x="1168890" y="171220"/>
                  </a:cubicBezTo>
                  <a:cubicBezTo>
                    <a:pt x="1172243" y="181471"/>
                    <a:pt x="1177178" y="190316"/>
                    <a:pt x="1183693" y="197750"/>
                  </a:cubicBezTo>
                  <a:cubicBezTo>
                    <a:pt x="1190211" y="205184"/>
                    <a:pt x="1198206" y="210966"/>
                    <a:pt x="1207696" y="215084"/>
                  </a:cubicBezTo>
                  <a:cubicBezTo>
                    <a:pt x="1217186" y="219199"/>
                    <a:pt x="1227962" y="221262"/>
                    <a:pt x="1240032" y="221262"/>
                  </a:cubicBezTo>
                  <a:close/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任意形状 5"/>
            <p:cNvSpPr/>
            <p:nvPr/>
          </p:nvSpPr>
          <p:spPr>
            <a:xfrm>
              <a:off x="1135363" y="1550065"/>
              <a:ext cx="56834" cy="56847"/>
            </a:xfrm>
            <a:custGeom>
              <a:avLst/>
              <a:gdLst>
                <a:gd name="connsiteX0" fmla="*/ 56834 w 56834"/>
                <a:gd name="connsiteY0" fmla="*/ 28426 h 56847"/>
                <a:gd name="connsiteX1" fmla="*/ 28417 w 56834"/>
                <a:gd name="connsiteY1" fmla="*/ 56847 h 56847"/>
                <a:gd name="connsiteX2" fmla="*/ 0 w 56834"/>
                <a:gd name="connsiteY2" fmla="*/ 28426 h 56847"/>
                <a:gd name="connsiteX3" fmla="*/ 28417 w 56834"/>
                <a:gd name="connsiteY3" fmla="*/ 0 h 56847"/>
                <a:gd name="connsiteX4" fmla="*/ 56834 w 56834"/>
                <a:gd name="connsiteY4" fmla="*/ 28426 h 5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34" h="56847">
                  <a:moveTo>
                    <a:pt x="56834" y="28426"/>
                  </a:moveTo>
                  <a:cubicBezTo>
                    <a:pt x="56834" y="44127"/>
                    <a:pt x="44110" y="56847"/>
                    <a:pt x="28417" y="56847"/>
                  </a:cubicBezTo>
                  <a:cubicBezTo>
                    <a:pt x="12725" y="56847"/>
                    <a:pt x="0" y="44127"/>
                    <a:pt x="0" y="28426"/>
                  </a:cubicBezTo>
                  <a:cubicBezTo>
                    <a:pt x="0" y="12725"/>
                    <a:pt x="12725" y="0"/>
                    <a:pt x="28417" y="0"/>
                  </a:cubicBezTo>
                  <a:cubicBezTo>
                    <a:pt x="44110" y="0"/>
                    <a:pt x="56834" y="12725"/>
                    <a:pt x="56834" y="28426"/>
                  </a:cubicBezTo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任意形状 7"/>
            <p:cNvSpPr/>
            <p:nvPr/>
          </p:nvSpPr>
          <p:spPr>
            <a:xfrm>
              <a:off x="1004703" y="1389693"/>
              <a:ext cx="574609" cy="358197"/>
            </a:xfrm>
            <a:custGeom>
              <a:avLst/>
              <a:gdLst>
                <a:gd name="connsiteX0" fmla="*/ 464099 w 574609"/>
                <a:gd name="connsiteY0" fmla="*/ 358197 h 358197"/>
                <a:gd name="connsiteX1" fmla="*/ 123969 w 574609"/>
                <a:gd name="connsiteY1" fmla="*/ 358197 h 358197"/>
                <a:gd name="connsiteX2" fmla="*/ 36309 w 574609"/>
                <a:gd name="connsiteY2" fmla="*/ 321877 h 358197"/>
                <a:gd name="connsiteX3" fmla="*/ 0 w 574609"/>
                <a:gd name="connsiteY3" fmla="*/ 234195 h 358197"/>
                <a:gd name="connsiteX4" fmla="*/ 0 w 574609"/>
                <a:gd name="connsiteY4" fmla="*/ 202587 h 358197"/>
                <a:gd name="connsiteX5" fmla="*/ 34448 w 574609"/>
                <a:gd name="connsiteY5" fmla="*/ 90411 h 358197"/>
                <a:gd name="connsiteX6" fmla="*/ 34738 w 574609"/>
                <a:gd name="connsiteY6" fmla="*/ 89997 h 358197"/>
                <a:gd name="connsiteX7" fmla="*/ 108410 w 574609"/>
                <a:gd name="connsiteY7" fmla="*/ 24612 h 358197"/>
                <a:gd name="connsiteX8" fmla="*/ 207177 w 574609"/>
                <a:gd name="connsiteY8" fmla="*/ 0 h 358197"/>
                <a:gd name="connsiteX9" fmla="*/ 279696 w 574609"/>
                <a:gd name="connsiteY9" fmla="*/ 12854 h 358197"/>
                <a:gd name="connsiteX10" fmla="*/ 341188 w 574609"/>
                <a:gd name="connsiteY10" fmla="*/ 48264 h 358197"/>
                <a:gd name="connsiteX11" fmla="*/ 380747 w 574609"/>
                <a:gd name="connsiteY11" fmla="*/ 92254 h 358197"/>
                <a:gd name="connsiteX12" fmla="*/ 400362 w 574609"/>
                <a:gd name="connsiteY12" fmla="*/ 132030 h 358197"/>
                <a:gd name="connsiteX13" fmla="*/ 495964 w 574609"/>
                <a:gd name="connsiteY13" fmla="*/ 255343 h 358197"/>
                <a:gd name="connsiteX14" fmla="*/ 495964 w 574609"/>
                <a:gd name="connsiteY14" fmla="*/ 259084 h 358197"/>
                <a:gd name="connsiteX15" fmla="*/ 446280 w 574609"/>
                <a:gd name="connsiteY15" fmla="*/ 259084 h 358197"/>
                <a:gd name="connsiteX16" fmla="*/ 446280 w 574609"/>
                <a:gd name="connsiteY16" fmla="*/ 255309 h 358197"/>
                <a:gd name="connsiteX17" fmla="*/ 378007 w 574609"/>
                <a:gd name="connsiteY17" fmla="*/ 177131 h 358197"/>
                <a:gd name="connsiteX18" fmla="*/ 361234 w 574609"/>
                <a:gd name="connsiteY18" fmla="*/ 176206 h 358197"/>
                <a:gd name="connsiteX19" fmla="*/ 356980 w 574609"/>
                <a:gd name="connsiteY19" fmla="*/ 159869 h 358197"/>
                <a:gd name="connsiteX20" fmla="*/ 309791 w 574609"/>
                <a:gd name="connsiteY20" fmla="*/ 86780 h 358197"/>
                <a:gd name="connsiteX21" fmla="*/ 309575 w 574609"/>
                <a:gd name="connsiteY21" fmla="*/ 86601 h 358197"/>
                <a:gd name="connsiteX22" fmla="*/ 262558 w 574609"/>
                <a:gd name="connsiteY22" fmla="*/ 59500 h 358197"/>
                <a:gd name="connsiteX23" fmla="*/ 207177 w 574609"/>
                <a:gd name="connsiteY23" fmla="*/ 49695 h 358197"/>
                <a:gd name="connsiteX24" fmla="*/ 131781 w 574609"/>
                <a:gd name="connsiteY24" fmla="*/ 68468 h 358197"/>
                <a:gd name="connsiteX25" fmla="*/ 75571 w 574609"/>
                <a:gd name="connsiteY25" fmla="*/ 118304 h 358197"/>
                <a:gd name="connsiteX26" fmla="*/ 75560 w 574609"/>
                <a:gd name="connsiteY26" fmla="*/ 118323 h 358197"/>
                <a:gd name="connsiteX27" fmla="*/ 49684 w 574609"/>
                <a:gd name="connsiteY27" fmla="*/ 202587 h 358197"/>
                <a:gd name="connsiteX28" fmla="*/ 49684 w 574609"/>
                <a:gd name="connsiteY28" fmla="*/ 234195 h 358197"/>
                <a:gd name="connsiteX29" fmla="*/ 123969 w 574609"/>
                <a:gd name="connsiteY29" fmla="*/ 308498 h 358197"/>
                <a:gd name="connsiteX30" fmla="*/ 464099 w 574609"/>
                <a:gd name="connsiteY30" fmla="*/ 308498 h 358197"/>
                <a:gd name="connsiteX31" fmla="*/ 524929 w 574609"/>
                <a:gd name="connsiteY31" fmla="*/ 247654 h 358197"/>
                <a:gd name="connsiteX32" fmla="*/ 524929 w 574609"/>
                <a:gd name="connsiteY32" fmla="*/ 240365 h 358197"/>
                <a:gd name="connsiteX33" fmla="*/ 574609 w 574609"/>
                <a:gd name="connsiteY33" fmla="*/ 240365 h 358197"/>
                <a:gd name="connsiteX34" fmla="*/ 574609 w 574609"/>
                <a:gd name="connsiteY34" fmla="*/ 247654 h 358197"/>
                <a:gd name="connsiteX35" fmla="*/ 464099 w 574609"/>
                <a:gd name="connsiteY35" fmla="*/ 358197 h 3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74609" h="358197">
                  <a:moveTo>
                    <a:pt x="464099" y="358197"/>
                  </a:moveTo>
                  <a:lnTo>
                    <a:pt x="123969" y="358197"/>
                  </a:lnTo>
                  <a:cubicBezTo>
                    <a:pt x="90856" y="358197"/>
                    <a:pt x="59722" y="345297"/>
                    <a:pt x="36309" y="321877"/>
                  </a:cubicBezTo>
                  <a:cubicBezTo>
                    <a:pt x="12896" y="298457"/>
                    <a:pt x="0" y="267317"/>
                    <a:pt x="0" y="234195"/>
                  </a:cubicBezTo>
                  <a:lnTo>
                    <a:pt x="0" y="202587"/>
                  </a:lnTo>
                  <a:cubicBezTo>
                    <a:pt x="0" y="162355"/>
                    <a:pt x="11914" y="123564"/>
                    <a:pt x="34448" y="90411"/>
                  </a:cubicBezTo>
                  <a:lnTo>
                    <a:pt x="34738" y="89997"/>
                  </a:lnTo>
                  <a:cubicBezTo>
                    <a:pt x="53722" y="62800"/>
                    <a:pt x="79197" y="40191"/>
                    <a:pt x="108410" y="24612"/>
                  </a:cubicBezTo>
                  <a:cubicBezTo>
                    <a:pt x="138604" y="8507"/>
                    <a:pt x="172759" y="0"/>
                    <a:pt x="207177" y="0"/>
                  </a:cubicBezTo>
                  <a:cubicBezTo>
                    <a:pt x="232097" y="0"/>
                    <a:pt x="256496" y="4324"/>
                    <a:pt x="279696" y="12854"/>
                  </a:cubicBezTo>
                  <a:cubicBezTo>
                    <a:pt x="302071" y="21079"/>
                    <a:pt x="322756" y="32993"/>
                    <a:pt x="341188" y="48264"/>
                  </a:cubicBezTo>
                  <a:cubicBezTo>
                    <a:pt x="356618" y="60794"/>
                    <a:pt x="369929" y="75593"/>
                    <a:pt x="380747" y="92254"/>
                  </a:cubicBezTo>
                  <a:cubicBezTo>
                    <a:pt x="388859" y="104750"/>
                    <a:pt x="395431" y="118080"/>
                    <a:pt x="400362" y="132030"/>
                  </a:cubicBezTo>
                  <a:cubicBezTo>
                    <a:pt x="455762" y="146338"/>
                    <a:pt x="495964" y="196718"/>
                    <a:pt x="495964" y="255343"/>
                  </a:cubicBezTo>
                  <a:lnTo>
                    <a:pt x="495964" y="259084"/>
                  </a:lnTo>
                  <a:lnTo>
                    <a:pt x="446280" y="259084"/>
                  </a:lnTo>
                  <a:cubicBezTo>
                    <a:pt x="446280" y="257863"/>
                    <a:pt x="446276" y="255586"/>
                    <a:pt x="446280" y="255309"/>
                  </a:cubicBezTo>
                  <a:cubicBezTo>
                    <a:pt x="446264" y="216149"/>
                    <a:pt x="416371" y="183015"/>
                    <a:pt x="378007" y="177131"/>
                  </a:cubicBezTo>
                  <a:cubicBezTo>
                    <a:pt x="368684" y="175699"/>
                    <a:pt x="361234" y="176206"/>
                    <a:pt x="361234" y="176206"/>
                  </a:cubicBezTo>
                  <a:lnTo>
                    <a:pt x="356980" y="159869"/>
                  </a:lnTo>
                  <a:cubicBezTo>
                    <a:pt x="349556" y="131390"/>
                    <a:pt x="332798" y="105431"/>
                    <a:pt x="309791" y="86780"/>
                  </a:cubicBezTo>
                  <a:lnTo>
                    <a:pt x="309575" y="86601"/>
                  </a:lnTo>
                  <a:cubicBezTo>
                    <a:pt x="295476" y="74904"/>
                    <a:pt x="279658" y="65788"/>
                    <a:pt x="262558" y="59500"/>
                  </a:cubicBezTo>
                  <a:cubicBezTo>
                    <a:pt x="244860" y="52995"/>
                    <a:pt x="226230" y="49695"/>
                    <a:pt x="207177" y="49695"/>
                  </a:cubicBezTo>
                  <a:cubicBezTo>
                    <a:pt x="180879" y="49695"/>
                    <a:pt x="154810" y="56189"/>
                    <a:pt x="131781" y="68468"/>
                  </a:cubicBezTo>
                  <a:cubicBezTo>
                    <a:pt x="109509" y="80344"/>
                    <a:pt x="90080" y="97575"/>
                    <a:pt x="75571" y="118304"/>
                  </a:cubicBezTo>
                  <a:lnTo>
                    <a:pt x="75560" y="118323"/>
                  </a:lnTo>
                  <a:cubicBezTo>
                    <a:pt x="58630" y="143209"/>
                    <a:pt x="49684" y="172346"/>
                    <a:pt x="49684" y="202587"/>
                  </a:cubicBezTo>
                  <a:lnTo>
                    <a:pt x="49684" y="234195"/>
                  </a:lnTo>
                  <a:cubicBezTo>
                    <a:pt x="49684" y="275170"/>
                    <a:pt x="83010" y="308498"/>
                    <a:pt x="123969" y="308498"/>
                  </a:cubicBezTo>
                  <a:lnTo>
                    <a:pt x="464099" y="308498"/>
                  </a:lnTo>
                  <a:cubicBezTo>
                    <a:pt x="497642" y="308498"/>
                    <a:pt x="524929" y="281203"/>
                    <a:pt x="524929" y="247654"/>
                  </a:cubicBezTo>
                  <a:lnTo>
                    <a:pt x="524929" y="240365"/>
                  </a:lnTo>
                  <a:lnTo>
                    <a:pt x="574609" y="240365"/>
                  </a:lnTo>
                  <a:lnTo>
                    <a:pt x="574609" y="247654"/>
                  </a:lnTo>
                  <a:cubicBezTo>
                    <a:pt x="574609" y="308608"/>
                    <a:pt x="525035" y="358197"/>
                    <a:pt x="464099" y="358197"/>
                  </a:cubicBezTo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0" name="直线连接符 9"/>
          <p:cNvCxnSpPr/>
          <p:nvPr userDrawn="1"/>
        </p:nvCxnSpPr>
        <p:spPr>
          <a:xfrm>
            <a:off x="1338615" y="3816005"/>
            <a:ext cx="6082177" cy="0"/>
          </a:xfrm>
          <a:prstGeom prst="line">
            <a:avLst/>
          </a:prstGeom>
          <a:ln w="85725" cap="rnd">
            <a:gradFill>
              <a:gsLst>
                <a:gs pos="0">
                  <a:srgbClr val="C94CEB"/>
                </a:gs>
                <a:gs pos="27000">
                  <a:srgbClr val="4B50EF"/>
                </a:gs>
                <a:gs pos="62000">
                  <a:srgbClr val="00BBFF"/>
                </a:gs>
                <a:gs pos="100000">
                  <a:srgbClr val="01E287"/>
                </a:gs>
              </a:gsLst>
              <a:lin ang="0" scaled="0"/>
            </a:gra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2390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(O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徽标&#10;&#10;低可信度描述已自动生成"/>
          <p:cNvPicPr>
            <a:picLocks noChangeAspect="1"/>
          </p:cNvPicPr>
          <p:nvPr/>
        </p:nvPicPr>
        <p:blipFill rotWithShape="1">
          <a:blip r:embed="rId2"/>
          <a:srcRect r="66875"/>
          <a:stretch>
            <a:fillRect/>
          </a:stretch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9" name="文本占位符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496" y="2565174"/>
            <a:ext cx="2916936" cy="11260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pPr lvl="0"/>
            <a:r>
              <a:rPr lang="en-US" altLang="zh-CN" dirty="0"/>
              <a:t>Agenda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rcRect r="26921"/>
          <a:stretch>
            <a:fillRect/>
          </a:stretch>
        </p:blipFill>
        <p:spPr>
          <a:xfrm>
            <a:off x="9442265" y="313713"/>
            <a:ext cx="2411886" cy="3636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90204" pitchFamily="34" charset="0"/>
                <a:ea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1B7DEB0B-5555-488E-847D-D4469D392F56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4928462" y="1502386"/>
            <a:ext cx="6167892" cy="4297680"/>
          </a:xfrm>
          <a:noFill/>
        </p:spPr>
        <p:txBody>
          <a:bodyPr wrap="square" rtlCol="0" anchor="t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kumimoji="1" lang="zh-CN" altLang="en-US" sz="2400" b="0" i="0" dirty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</a:lstStyle>
          <a:p>
            <a:pPr lvl="0"/>
            <a:r>
              <a:rPr lang="en-US" altLang="zh-CN" dirty="0"/>
              <a:t>Chapter </a:t>
            </a:r>
            <a:r>
              <a:rPr lang="en-US" altLang="zh-CN" sz="2400" dirty="0"/>
              <a:t>1</a:t>
            </a:r>
          </a:p>
          <a:p>
            <a:r>
              <a:rPr lang="en-US" altLang="zh-CN" dirty="0"/>
              <a:t>Chapter 2</a:t>
            </a:r>
            <a:endParaRPr lang="zh-CN" altLang="en-US" dirty="0"/>
          </a:p>
          <a:p>
            <a:r>
              <a:rPr lang="en-US" altLang="zh-CN" dirty="0"/>
              <a:t>Chapter 3</a:t>
            </a:r>
            <a:endParaRPr lang="zh-CN" altLang="en-US" dirty="0"/>
          </a:p>
          <a:p>
            <a:r>
              <a:rPr lang="en-US" altLang="zh-CN" dirty="0"/>
              <a:t>Chapter 4</a:t>
            </a:r>
            <a:endParaRPr lang="zh-CN" altLang="en-US" dirty="0"/>
          </a:p>
          <a:p>
            <a:pPr marL="0" marR="0" lvl="0" indent="-22860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Chapter 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99661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Arial" panose="020B0604020202090204" pitchFamily="34" charset="0"/>
                <a:ea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1B7DEB0B-5555-488E-847D-D4469D392F5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946784"/>
            <a:ext cx="10515600" cy="99136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rcRect r="27571"/>
          <a:stretch>
            <a:fillRect/>
          </a:stretch>
        </p:blipFill>
        <p:spPr>
          <a:xfrm>
            <a:off x="8525065" y="518037"/>
            <a:ext cx="3124141" cy="4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6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40AB43-D306-C711-2561-DC461CF43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BA57188-0A05-5909-343D-EF0D549FF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B7CB938-941A-CC0E-5345-C50322D0FB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6443AB0-A9C8-662C-43B4-1F76E8B7A8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953B4E9-2B74-B501-BB22-56E1298A63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E9ECF7F0-4900-93B8-9700-FAA3341C5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09188BD-FABF-E28C-3FDC-65772CB1D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4DF10FE-7BF2-3F06-C725-A30E6B530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8768160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723901" y="6640825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© </a:t>
            </a:r>
            <a:r>
              <a:rPr kumimoji="1"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Whale Cloud</a:t>
            </a: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 Technology </a:t>
            </a:r>
            <a:r>
              <a:rPr kumimoji="1"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Co.,Ltd</a:t>
            </a: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  All rights reserved</a:t>
            </a:r>
          </a:p>
        </p:txBody>
      </p:sp>
      <p:sp>
        <p:nvSpPr>
          <p:cNvPr id="18" name="Slide Number Placeholder 5"/>
          <p:cNvSpPr>
            <a:spLocks noGrp="1"/>
          </p:cNvSpPr>
          <p:nvPr/>
        </p:nvSpPr>
        <p:spPr bwMode="auto">
          <a:xfrm>
            <a:off x="317500" y="6448834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9B0B765D-2809-403D-8FBD-AF0D71987AE3}" type="slidenum">
              <a:rPr lang="en-US" sz="105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</a:rPr>
              <a:t>‹#›</a:t>
            </a:fld>
            <a:endParaRPr lang="en-US" sz="105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</p:txBody>
      </p:sp>
      <p:sp>
        <p:nvSpPr>
          <p:cNvPr id="20" name="标题 13"/>
          <p:cNvSpPr>
            <a:spLocks noGrp="1"/>
          </p:cNvSpPr>
          <p:nvPr>
            <p:ph type="title"/>
          </p:nvPr>
        </p:nvSpPr>
        <p:spPr>
          <a:xfrm>
            <a:off x="448182" y="232273"/>
            <a:ext cx="9095867" cy="66037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zh-CN" altLang="en-US" sz="2800" dirty="0">
                <a:solidFill>
                  <a:srgbClr val="0069DE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hqprint"/>
          <a:stretch>
            <a:fillRect/>
          </a:stretch>
        </p:blipFill>
        <p:spPr>
          <a:xfrm>
            <a:off x="9463330" y="115192"/>
            <a:ext cx="2616149" cy="682161"/>
          </a:xfrm>
          <a:prstGeom prst="rect">
            <a:avLst/>
          </a:prstGeom>
        </p:spPr>
      </p:pic>
      <p:grpSp>
        <p:nvGrpSpPr>
          <p:cNvPr id="19" name="组合 18"/>
          <p:cNvGrpSpPr>
            <a:grpSpLocks noChangeAspect="1"/>
          </p:cNvGrpSpPr>
          <p:nvPr userDrawn="1"/>
        </p:nvGrpSpPr>
        <p:grpSpPr>
          <a:xfrm>
            <a:off x="12325578" y="3665263"/>
            <a:ext cx="1125591" cy="2991743"/>
            <a:chOff x="12292785" y="2292698"/>
            <a:chExt cx="1647978" cy="4380211"/>
          </a:xfrm>
        </p:grpSpPr>
        <p:sp>
          <p:nvSpPr>
            <p:cNvPr id="21" name="矩形 20"/>
            <p:cNvSpPr/>
            <p:nvPr userDrawn="1"/>
          </p:nvSpPr>
          <p:spPr>
            <a:xfrm>
              <a:off x="13170340" y="4468287"/>
              <a:ext cx="770423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5665EE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22" name="矩形 21"/>
            <p:cNvSpPr/>
            <p:nvPr userDrawn="1"/>
          </p:nvSpPr>
          <p:spPr>
            <a:xfrm>
              <a:off x="12490034" y="3626749"/>
              <a:ext cx="1282883" cy="360000"/>
            </a:xfrm>
            <a:prstGeom prst="rect">
              <a:avLst/>
            </a:prstGeom>
            <a:gradFill>
              <a:gsLst>
                <a:gs pos="0">
                  <a:srgbClr val="5144E3"/>
                </a:gs>
                <a:gs pos="100000">
                  <a:srgbClr val="0069DD"/>
                </a:gs>
              </a:gsLst>
              <a:lin ang="0" scaled="0"/>
            </a:gra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3" name="矩形 22"/>
            <p:cNvSpPr/>
            <p:nvPr userDrawn="1"/>
          </p:nvSpPr>
          <p:spPr>
            <a:xfrm>
              <a:off x="12490034" y="5090066"/>
              <a:ext cx="446826" cy="360000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anose="020B0604020202090204" pitchFamily="34" charset="0"/>
              </a:endParaRPr>
            </a:p>
          </p:txBody>
        </p:sp>
        <p:sp>
          <p:nvSpPr>
            <p:cNvPr id="24" name="矩形 23"/>
            <p:cNvSpPr/>
            <p:nvPr userDrawn="1"/>
          </p:nvSpPr>
          <p:spPr>
            <a:xfrm>
              <a:off x="12490034" y="5874334"/>
              <a:ext cx="446826" cy="360000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90204" pitchFamily="34" charset="0"/>
              </a:endParaRPr>
            </a:p>
          </p:txBody>
        </p:sp>
        <p:sp>
          <p:nvSpPr>
            <p:cNvPr id="25" name="矩形 24"/>
            <p:cNvSpPr/>
            <p:nvPr userDrawn="1"/>
          </p:nvSpPr>
          <p:spPr>
            <a:xfrm>
              <a:off x="12490034" y="6312909"/>
              <a:ext cx="446826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90204" pitchFamily="34" charset="0"/>
              </a:endParaRPr>
            </a:p>
          </p:txBody>
        </p:sp>
        <p:sp>
          <p:nvSpPr>
            <p:cNvPr id="26" name="矩形 25"/>
            <p:cNvSpPr/>
            <p:nvPr userDrawn="1"/>
          </p:nvSpPr>
          <p:spPr>
            <a:xfrm>
              <a:off x="12490034" y="4050256"/>
              <a:ext cx="446826" cy="360000"/>
            </a:xfrm>
            <a:prstGeom prst="rect">
              <a:avLst/>
            </a:prstGeom>
            <a:solidFill>
              <a:srgbClr val="5144E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7" name="矩形 26"/>
            <p:cNvSpPr/>
            <p:nvPr userDrawn="1"/>
          </p:nvSpPr>
          <p:spPr>
            <a:xfrm>
              <a:off x="13326091" y="4050256"/>
              <a:ext cx="446826" cy="360000"/>
            </a:xfrm>
            <a:prstGeom prst="rect">
              <a:avLst/>
            </a:prstGeom>
            <a:solidFill>
              <a:srgbClr val="0069DE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8" name="矩形 27"/>
            <p:cNvSpPr/>
            <p:nvPr userDrawn="1"/>
          </p:nvSpPr>
          <p:spPr>
            <a:xfrm>
              <a:off x="12292785" y="4468287"/>
              <a:ext cx="789819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0069DE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29" name="矩形 28"/>
            <p:cNvSpPr/>
            <p:nvPr userDrawn="1"/>
          </p:nvSpPr>
          <p:spPr>
            <a:xfrm>
              <a:off x="12972702" y="5113984"/>
              <a:ext cx="758785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FF6E00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0" name="矩形 29"/>
            <p:cNvSpPr/>
            <p:nvPr userDrawn="1"/>
          </p:nvSpPr>
          <p:spPr>
            <a:xfrm>
              <a:off x="12972702" y="5920064"/>
              <a:ext cx="778181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595757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1" name="矩形 30"/>
            <p:cNvSpPr/>
            <p:nvPr userDrawn="1"/>
          </p:nvSpPr>
          <p:spPr>
            <a:xfrm>
              <a:off x="12972702" y="6310816"/>
              <a:ext cx="824733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D9D9D9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2" name="文本框 31"/>
            <p:cNvSpPr txBox="1"/>
            <p:nvPr userDrawn="1"/>
          </p:nvSpPr>
          <p:spPr>
            <a:xfrm>
              <a:off x="12520123" y="3368426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主色调</a:t>
              </a:r>
              <a:endParaRPr kumimoji="1"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33" name="文本框 32"/>
            <p:cNvSpPr txBox="1"/>
            <p:nvPr userDrawn="1"/>
          </p:nvSpPr>
          <p:spPr>
            <a:xfrm>
              <a:off x="12546358" y="4820394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对比色</a:t>
              </a:r>
            </a:p>
          </p:txBody>
        </p:sp>
        <p:sp>
          <p:nvSpPr>
            <p:cNvPr id="34" name="文本框 33"/>
            <p:cNvSpPr txBox="1"/>
            <p:nvPr userDrawn="1"/>
          </p:nvSpPr>
          <p:spPr>
            <a:xfrm>
              <a:off x="12555486" y="5593602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辅助色</a:t>
              </a:r>
            </a:p>
          </p:txBody>
        </p:sp>
        <p:sp>
          <p:nvSpPr>
            <p:cNvPr id="37" name="文本框 36"/>
            <p:cNvSpPr txBox="1"/>
            <p:nvPr userDrawn="1"/>
          </p:nvSpPr>
          <p:spPr>
            <a:xfrm>
              <a:off x="12463452" y="2292698"/>
              <a:ext cx="1406786" cy="75717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内容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endParaRPr kumimoji="1"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Type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Calibri</a:t>
              </a: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Size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18, 14, 10</a:t>
              </a: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Color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Bl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2623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5/11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1596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24DA23-A014-0DB0-C43C-B0C424550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0121287-707C-0EBC-2ED1-F60ED0668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74078D8-59BC-BBC5-E95B-291EB5DA6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DF05B81-90E7-5945-F6BF-353E6D2D0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715182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74B57D3-99DF-2AD6-F483-3CEA718EF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A9C8403-77F6-20EF-B2D5-9E8A12F67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581C18-2C44-D796-0D66-6F05CD2B1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547310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BF18DE-C322-F2BF-3A23-FD5AAF4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CEF53AF-4E74-1695-B9D4-856013B1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EC4A839-531B-F084-5AF8-708148970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1C887F3-CE42-D156-2C31-EA54A7643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5466230-DFDF-7795-FD64-A95A8EADA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FB33BCE-D86F-71B2-32D8-694BA8077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080551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E882E5-FEBD-1F96-8AC8-1B59F200F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7EC3F7B-14A2-61B7-7A83-3F79E4A2F1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9063430-8578-882A-F1A9-BC541DB6F4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FEACBFE-CD96-6341-4E55-AB1D30FC7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2AE92C8-799C-9E9C-B221-C771B3AB9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71A210-BA91-D131-4CC6-F6B8571A1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814673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A198D57F-FD66-312D-8860-4444270C7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AB25E7B-B245-1D25-DDA6-C6669D132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44EDA20-9779-8B18-3C94-E2067CCDC5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5CE704-05B1-DF4F-A712-7730716C5FEA}" type="datetimeFigureOut">
              <a:rPr kumimoji="1" lang="zh-SG" altLang="en-US" smtClean="0"/>
              <a:t>19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034DEA0-92A6-4A82-D7F3-22A33FEC6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826D760-83CE-6431-4349-15F645DD50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80625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S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98954-A790-4F5E-B5BF-D3E3CF3FA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86403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5" imgH="416" progId="TCLayout.ActiveDocument.1">
                  <p:embed/>
                </p:oleObj>
              </mc:Choice>
              <mc:Fallback>
                <p:oleObj name="think-cell Slide" r:id="rId3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98954-A790-4F5E-B5BF-D3E3CF3FA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5D37BE-289C-C013-58E7-AC7EBE432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846" y="365126"/>
            <a:ext cx="10706834" cy="6974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  <a:endParaRPr lang="en-S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4A003-14C0-F3E2-9153-1E29983FC6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5845" y="1062541"/>
            <a:ext cx="10706833" cy="4779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sp>
        <p:nvSpPr>
          <p:cNvPr id="8" name="Прямоугольник 13">
            <a:extLst>
              <a:ext uri="{FF2B5EF4-FFF2-40B4-BE49-F238E27FC236}">
                <a16:creationId xmlns:a16="http://schemas.microsoft.com/office/drawing/2014/main" id="{289D66F6-AA54-CE54-05B1-CAEE54983BEC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tx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73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02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7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97">
          <p15:clr>
            <a:srgbClr val="F26B43"/>
          </p15:clr>
        </p15:guide>
        <p15:guide id="4" pos="7355">
          <p15:clr>
            <a:srgbClr val="F26B43"/>
          </p15:clr>
        </p15:guide>
        <p15:guide id="5" pos="1980">
          <p15:clr>
            <a:srgbClr val="F26B43"/>
          </p15:clr>
        </p15:guide>
        <p15:guide id="6" orient="horz" pos="618">
          <p15:clr>
            <a:srgbClr val="F26B43"/>
          </p15:clr>
        </p15:guide>
        <p15:guide id="7" pos="279">
          <p15:clr>
            <a:srgbClr val="F26B43"/>
          </p15:clr>
        </p15:guide>
        <p15:guide id="8" pos="3772">
          <p15:clr>
            <a:srgbClr val="F26B43"/>
          </p15:clr>
        </p15:guide>
        <p15:guide id="9" pos="3863">
          <p15:clr>
            <a:srgbClr val="F26B43"/>
          </p15:clr>
        </p15:guide>
        <p15:guide id="10" pos="5564">
          <p15:clr>
            <a:srgbClr val="F26B43"/>
          </p15:clr>
        </p15:guide>
        <p15:guide id="11" pos="5655">
          <p15:clr>
            <a:srgbClr val="F26B43"/>
          </p15:clr>
        </p15:guide>
        <p15:guide id="12" orient="horz" pos="3997">
          <p15:clr>
            <a:srgbClr val="F26B43"/>
          </p15:clr>
        </p15:guide>
        <p15:guide id="13" orient="horz" pos="3680">
          <p15:clr>
            <a:srgbClr val="F26B43"/>
          </p15:clr>
        </p15:guide>
        <p15:guide id="14" pos="7015">
          <p15:clr>
            <a:srgbClr val="F26B43"/>
          </p15:clr>
        </p15:guide>
        <p15:guide id="15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8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9" r:id="rId3"/>
    <p:sldLayoutId id="2147483700" r:id="rId4"/>
    <p:sldLayoutId id="2147483701" r:id="rId5"/>
  </p:sldLayoutIdLst>
  <p:txStyles>
    <p:titleStyle>
      <a:lvl1pPr algn="l" defTabSz="609600" rtl="0" eaLnBrk="1" fontAlgn="base" hangingPunct="1">
        <a:spcBef>
          <a:spcPct val="0"/>
        </a:spcBef>
        <a:spcAft>
          <a:spcPct val="0"/>
        </a:spcAft>
        <a:defRPr kumimoji="1" lang="zh-CN" altLang="en-US" sz="3200" b="0" i="0" kern="1200" dirty="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  <a:cs typeface="+mn-cs"/>
        </a:defRPr>
      </a:lvl1pPr>
      <a:lvl2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2pPr>
      <a:lvl3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3pPr>
      <a:lvl4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4pPr>
      <a:lvl5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5pPr>
      <a:lvl6pPr marL="6096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6pPr>
      <a:lvl7pPr marL="12192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7pPr>
      <a:lvl8pPr marL="18288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8pPr>
      <a:lvl9pPr marL="24384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9pPr>
    </p:titleStyle>
    <p:bodyStyle>
      <a:lvl1pPr marL="457200" indent="-4572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defRPr sz="2400" b="0" i="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微软雅黑" panose="020B0503020204020204" pitchFamily="34" charset="-122"/>
          <a:cs typeface="+mn-cs"/>
        </a:defRPr>
      </a:lvl1pPr>
      <a:lvl2pPr marL="990600" indent="-3810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2pPr>
      <a:lvl3pPr marL="15240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•"/>
        <a:defRPr sz="2135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3pPr>
      <a:lvl4pPr marL="21336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sz="1865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4pPr>
      <a:lvl5pPr marL="27432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»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5pPr>
      <a:lvl6pPr marL="33528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8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27.png"/><Relationship Id="rId9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svg"/><Relationship Id="rId11" Type="http://schemas.openxmlformats.org/officeDocument/2006/relationships/image" Target="../media/image31.sv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svg"/><Relationship Id="rId9" Type="http://schemas.openxmlformats.org/officeDocument/2006/relationships/image" Target="../media/image29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69.png"/><Relationship Id="rId39" Type="http://schemas.openxmlformats.org/officeDocument/2006/relationships/image" Target="../media/image78.png"/><Relationship Id="rId21" Type="http://schemas.openxmlformats.org/officeDocument/2006/relationships/image" Target="../media/image31.svg"/><Relationship Id="rId34" Type="http://schemas.openxmlformats.org/officeDocument/2006/relationships/image" Target="../media/image77.svg"/><Relationship Id="rId42" Type="http://schemas.openxmlformats.org/officeDocument/2006/relationships/image" Target="../media/image49.svg"/><Relationship Id="rId47" Type="http://schemas.openxmlformats.org/officeDocument/2006/relationships/image" Target="../media/image84.sv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53.png"/><Relationship Id="rId29" Type="http://schemas.openxmlformats.org/officeDocument/2006/relationships/image" Target="../media/image72.pn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5.svg"/><Relationship Id="rId37" Type="http://schemas.openxmlformats.org/officeDocument/2006/relationships/image" Target="../media/image46.png"/><Relationship Id="rId40" Type="http://schemas.openxmlformats.org/officeDocument/2006/relationships/image" Target="../media/image79.svg"/><Relationship Id="rId45" Type="http://schemas.openxmlformats.org/officeDocument/2006/relationships/image" Target="../media/image82.svg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1.svg"/><Relationship Id="rId36" Type="http://schemas.openxmlformats.org/officeDocument/2006/relationships/image" Target="../media/image44.svg"/><Relationship Id="rId49" Type="http://schemas.openxmlformats.org/officeDocument/2006/relationships/image" Target="../media/image86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4.png"/><Relationship Id="rId44" Type="http://schemas.openxmlformats.org/officeDocument/2006/relationships/image" Target="../media/image81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43.png"/><Relationship Id="rId43" Type="http://schemas.openxmlformats.org/officeDocument/2006/relationships/image" Target="../media/image80.png"/><Relationship Id="rId48" Type="http://schemas.openxmlformats.org/officeDocument/2006/relationships/image" Target="../media/image85.pn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hyperlink" Target="https://proxy-dev-test-fusioncore-singtel-git-awslz-dmz.sin.dmz.dev.aws.singtel.com/" TargetMode="External"/><Relationship Id="rId33" Type="http://schemas.openxmlformats.org/officeDocument/2006/relationships/image" Target="../media/image76.png"/><Relationship Id="rId38" Type="http://schemas.openxmlformats.org/officeDocument/2006/relationships/image" Target="../media/image47.svg"/><Relationship Id="rId46" Type="http://schemas.openxmlformats.org/officeDocument/2006/relationships/image" Target="../media/image83.png"/><Relationship Id="rId20" Type="http://schemas.openxmlformats.org/officeDocument/2006/relationships/image" Target="../media/image30.png"/><Relationship Id="rId41" Type="http://schemas.openxmlformats.org/officeDocument/2006/relationships/image" Target="../media/image4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69.png"/><Relationship Id="rId39" Type="http://schemas.openxmlformats.org/officeDocument/2006/relationships/image" Target="../media/image78.png"/><Relationship Id="rId21" Type="http://schemas.openxmlformats.org/officeDocument/2006/relationships/image" Target="../media/image31.svg"/><Relationship Id="rId34" Type="http://schemas.openxmlformats.org/officeDocument/2006/relationships/image" Target="../media/image77.svg"/><Relationship Id="rId42" Type="http://schemas.openxmlformats.org/officeDocument/2006/relationships/image" Target="../media/image88.svg"/><Relationship Id="rId47" Type="http://schemas.openxmlformats.org/officeDocument/2006/relationships/image" Target="../media/image4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53.png"/><Relationship Id="rId29" Type="http://schemas.openxmlformats.org/officeDocument/2006/relationships/image" Target="../media/image72.pn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5.svg"/><Relationship Id="rId37" Type="http://schemas.openxmlformats.org/officeDocument/2006/relationships/image" Target="../media/image46.png"/><Relationship Id="rId40" Type="http://schemas.openxmlformats.org/officeDocument/2006/relationships/image" Target="../media/image79.svg"/><Relationship Id="rId45" Type="http://schemas.openxmlformats.org/officeDocument/2006/relationships/image" Target="../media/image84.svg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1.svg"/><Relationship Id="rId36" Type="http://schemas.openxmlformats.org/officeDocument/2006/relationships/image" Target="../media/image44.svg"/><Relationship Id="rId49" Type="http://schemas.openxmlformats.org/officeDocument/2006/relationships/image" Target="../media/image90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4.png"/><Relationship Id="rId44" Type="http://schemas.openxmlformats.org/officeDocument/2006/relationships/image" Target="../media/image83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43.png"/><Relationship Id="rId43" Type="http://schemas.openxmlformats.org/officeDocument/2006/relationships/image" Target="../media/image89.png"/><Relationship Id="rId48" Type="http://schemas.openxmlformats.org/officeDocument/2006/relationships/image" Target="../media/image49.sv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hyperlink" Target="https://proxy-nonprod-fusioncore-singtel-git-awslz-dmz.sin.dmz.dev.aws.singtel.com/" TargetMode="External"/><Relationship Id="rId33" Type="http://schemas.openxmlformats.org/officeDocument/2006/relationships/image" Target="../media/image76.png"/><Relationship Id="rId38" Type="http://schemas.openxmlformats.org/officeDocument/2006/relationships/image" Target="../media/image47.svg"/><Relationship Id="rId46" Type="http://schemas.openxmlformats.org/officeDocument/2006/relationships/image" Target="../media/image50.emf"/><Relationship Id="rId20" Type="http://schemas.openxmlformats.org/officeDocument/2006/relationships/image" Target="../media/image30.png"/><Relationship Id="rId41" Type="http://schemas.openxmlformats.org/officeDocument/2006/relationships/image" Target="../media/image8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70.png"/><Relationship Id="rId39" Type="http://schemas.openxmlformats.org/officeDocument/2006/relationships/image" Target="../media/image79.svg"/><Relationship Id="rId21" Type="http://schemas.openxmlformats.org/officeDocument/2006/relationships/image" Target="../media/image31.svg"/><Relationship Id="rId34" Type="http://schemas.openxmlformats.org/officeDocument/2006/relationships/image" Target="../media/image43.png"/><Relationship Id="rId42" Type="http://schemas.openxmlformats.org/officeDocument/2006/relationships/image" Target="../media/image89.png"/><Relationship Id="rId47" Type="http://schemas.openxmlformats.org/officeDocument/2006/relationships/image" Target="../media/image49.sv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53.png"/><Relationship Id="rId29" Type="http://schemas.openxmlformats.org/officeDocument/2006/relationships/image" Target="../media/image73.sv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6.png"/><Relationship Id="rId37" Type="http://schemas.openxmlformats.org/officeDocument/2006/relationships/image" Target="../media/image47.svg"/><Relationship Id="rId40" Type="http://schemas.openxmlformats.org/officeDocument/2006/relationships/image" Target="../media/image87.png"/><Relationship Id="rId45" Type="http://schemas.openxmlformats.org/officeDocument/2006/relationships/image" Target="../media/image50.emf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2.png"/><Relationship Id="rId36" Type="http://schemas.openxmlformats.org/officeDocument/2006/relationships/image" Target="../media/image46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5.svg"/><Relationship Id="rId44" Type="http://schemas.openxmlformats.org/officeDocument/2006/relationships/image" Target="../media/image84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1.svg"/><Relationship Id="rId30" Type="http://schemas.openxmlformats.org/officeDocument/2006/relationships/image" Target="../media/image74.png"/><Relationship Id="rId35" Type="http://schemas.openxmlformats.org/officeDocument/2006/relationships/image" Target="../media/image44.svg"/><Relationship Id="rId43" Type="http://schemas.openxmlformats.org/officeDocument/2006/relationships/image" Target="../media/image83.png"/><Relationship Id="rId48" Type="http://schemas.openxmlformats.org/officeDocument/2006/relationships/image" Target="../media/image90.pn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image" Target="../media/image69.png"/><Relationship Id="rId33" Type="http://schemas.openxmlformats.org/officeDocument/2006/relationships/image" Target="../media/image77.svg"/><Relationship Id="rId38" Type="http://schemas.openxmlformats.org/officeDocument/2006/relationships/image" Target="../media/image78.png"/><Relationship Id="rId46" Type="http://schemas.openxmlformats.org/officeDocument/2006/relationships/image" Target="../media/image48.png"/><Relationship Id="rId20" Type="http://schemas.openxmlformats.org/officeDocument/2006/relationships/image" Target="../media/image30.png"/><Relationship Id="rId41" Type="http://schemas.openxmlformats.org/officeDocument/2006/relationships/image" Target="../media/image88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1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8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34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svg"/><Relationship Id="rId11" Type="http://schemas.openxmlformats.org/officeDocument/2006/relationships/image" Target="../media/image32.pn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image" Target="../media/image24.svg"/><Relationship Id="rId9" Type="http://schemas.openxmlformats.org/officeDocument/2006/relationships/image" Target="../media/image2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4.svg"/><Relationship Id="rId3" Type="http://schemas.openxmlformats.org/officeDocument/2006/relationships/image" Target="../media/image35.png"/><Relationship Id="rId21" Type="http://schemas.openxmlformats.org/officeDocument/2006/relationships/image" Target="../media/image51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6.png"/><Relationship Id="rId20" Type="http://schemas.openxmlformats.org/officeDocument/2006/relationships/image" Target="../media/image5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29.sv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8.pn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5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4.svg"/><Relationship Id="rId3" Type="http://schemas.openxmlformats.org/officeDocument/2006/relationships/image" Target="../media/image35.png"/><Relationship Id="rId21" Type="http://schemas.openxmlformats.org/officeDocument/2006/relationships/image" Target="../media/image51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6.png"/><Relationship Id="rId20" Type="http://schemas.openxmlformats.org/officeDocument/2006/relationships/image" Target="../media/image5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29.sv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8.pn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52.svg"/><Relationship Id="rId27" Type="http://schemas.openxmlformats.org/officeDocument/2006/relationships/image" Target="../media/image5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0.emf"/><Relationship Id="rId3" Type="http://schemas.openxmlformats.org/officeDocument/2006/relationships/image" Target="../media/image35.png"/><Relationship Id="rId21" Type="http://schemas.openxmlformats.org/officeDocument/2006/relationships/image" Target="../media/image52.sv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6.pn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53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9.sv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D883BA-8DC6-4769-ABBD-C1A86FA44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D883BA-8DC6-4769-ABBD-C1A86FA4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E79C7E-C921-7168-A8BC-1A0095A096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6082" y="1357926"/>
            <a:ext cx="7720782" cy="2440042"/>
          </a:xfrm>
        </p:spPr>
        <p:txBody>
          <a:bodyPr vert="horz"/>
          <a:lstStyle/>
          <a:p>
            <a:r>
              <a:rPr lang="en-US" b="1" dirty="0"/>
              <a:t>Project Fusion</a:t>
            </a:r>
            <a:br>
              <a:rPr lang="en-US" b="1" dirty="0"/>
            </a:br>
            <a:r>
              <a:rPr lang="en-US" b="1" dirty="0"/>
              <a:t>-</a:t>
            </a:r>
            <a:r>
              <a:rPr lang="zh-CN" altLang="en-US" b="1" dirty="0"/>
              <a:t> </a:t>
            </a:r>
            <a:r>
              <a:rPr lang="en-US" altLang="zh-CN" b="1" dirty="0"/>
              <a:t>Phase2 AKS Integration Environment Planning</a:t>
            </a:r>
            <a:endParaRPr lang="en-US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E8FBB7-E28A-359C-0161-68EAE0B389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xx.02.202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225AC2-D250-1A61-FF6E-5E8B9879E0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1.0.0</a:t>
            </a:r>
          </a:p>
        </p:txBody>
      </p:sp>
    </p:spTree>
    <p:extLst>
      <p:ext uri="{BB962C8B-B14F-4D97-AF65-F5344CB8AC3E}">
        <p14:creationId xmlns:p14="http://schemas.microsoft.com/office/powerpoint/2010/main" val="3426963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981555-D1D8-6B55-418F-753FC475A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>
            <a:extLst>
              <a:ext uri="{FF2B5EF4-FFF2-40B4-BE49-F238E27FC236}">
                <a16:creationId xmlns:a16="http://schemas.microsoft.com/office/drawing/2014/main" id="{54FF45D5-5E6D-5882-3FE3-2D3119EE75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01597" y="1563697"/>
            <a:ext cx="11634797" cy="791845"/>
          </a:xfrm>
          <a:prstGeom prst="roundRect">
            <a:avLst>
              <a:gd name="adj" fmla="val 579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rgbClr val="FFFFFF"/>
          </a:lnRef>
          <a:fillRef idx="1">
            <a:schemeClr val="accent1"/>
          </a:fillRef>
          <a:effectRef idx="0">
            <a:srgbClr val="FFFFFF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 defTabSz="914400"/>
            <a:endParaRPr lang="en-US" altLang="zh-CN" b="1" dirty="0"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2" name="圆角矩形 81">
            <a:extLst>
              <a:ext uri="{FF2B5EF4-FFF2-40B4-BE49-F238E27FC236}">
                <a16:creationId xmlns:a16="http://schemas.microsoft.com/office/drawing/2014/main" id="{130AEA42-9541-A6FD-5E03-9C5F1C84723C}"/>
              </a:ext>
            </a:extLst>
          </p:cNvPr>
          <p:cNvSpPr/>
          <p:nvPr/>
        </p:nvSpPr>
        <p:spPr>
          <a:xfrm>
            <a:off x="4799678" y="3976377"/>
            <a:ext cx="2839220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③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 H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lm install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</a:p>
        </p:txBody>
      </p:sp>
      <p:sp>
        <p:nvSpPr>
          <p:cNvPr id="110" name="圆角矩形 109">
            <a:extLst>
              <a:ext uri="{FF2B5EF4-FFF2-40B4-BE49-F238E27FC236}">
                <a16:creationId xmlns:a16="http://schemas.microsoft.com/office/drawing/2014/main" id="{463703ED-69FC-51F4-127F-10151BE67909}"/>
              </a:ext>
            </a:extLst>
          </p:cNvPr>
          <p:cNvSpPr/>
          <p:nvPr/>
        </p:nvSpPr>
        <p:spPr>
          <a:xfrm>
            <a:off x="4714837" y="3009191"/>
            <a:ext cx="1682262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②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 Build helm chart release</a:t>
            </a:r>
          </a:p>
        </p:txBody>
      </p:sp>
      <p:sp>
        <p:nvSpPr>
          <p:cNvPr id="123" name="圆角矩形 122">
            <a:extLst>
              <a:ext uri="{FF2B5EF4-FFF2-40B4-BE49-F238E27FC236}">
                <a16:creationId xmlns:a16="http://schemas.microsoft.com/office/drawing/2014/main" id="{8C676FBD-C5B3-B043-C753-2650452555D2}"/>
              </a:ext>
            </a:extLst>
          </p:cNvPr>
          <p:cNvSpPr/>
          <p:nvPr/>
        </p:nvSpPr>
        <p:spPr>
          <a:xfrm>
            <a:off x="2501456" y="2638992"/>
            <a:ext cx="2517035" cy="34353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①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P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ull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helm chart</a:t>
            </a:r>
          </a:p>
        </p:txBody>
      </p:sp>
      <p:cxnSp>
        <p:nvCxnSpPr>
          <p:cNvPr id="124" name="直接箭头连接符 123">
            <a:extLst>
              <a:ext uri="{FF2B5EF4-FFF2-40B4-BE49-F238E27FC236}">
                <a16:creationId xmlns:a16="http://schemas.microsoft.com/office/drawing/2014/main" id="{6FEB3B3F-9CEA-3E14-45DF-5ECA4A9B13C7}"/>
              </a:ext>
            </a:extLst>
          </p:cNvPr>
          <p:cNvCxnSpPr/>
          <p:nvPr/>
        </p:nvCxnSpPr>
        <p:spPr>
          <a:xfrm flipH="1" flipV="1">
            <a:off x="724092" y="2941024"/>
            <a:ext cx="374967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2EB3017E-087D-0B21-B8A9-B741654BD86D}"/>
              </a:ext>
            </a:extLst>
          </p:cNvPr>
          <p:cNvGrpSpPr/>
          <p:nvPr/>
        </p:nvGrpSpPr>
        <p:grpSpPr>
          <a:xfrm>
            <a:off x="725997" y="2344470"/>
            <a:ext cx="7261225" cy="4513529"/>
            <a:chOff x="3168650" y="2738755"/>
            <a:chExt cx="7261225" cy="3558540"/>
          </a:xfrm>
        </p:grpSpPr>
        <p:cxnSp>
          <p:nvCxnSpPr>
            <p:cNvPr id="60" name="直接连接符 59">
              <a:extLst>
                <a:ext uri="{FF2B5EF4-FFF2-40B4-BE49-F238E27FC236}">
                  <a16:creationId xmlns:a16="http://schemas.microsoft.com/office/drawing/2014/main" id="{B3F8CA37-1023-FABB-8419-CD690B34F70B}"/>
                </a:ext>
              </a:extLst>
            </p:cNvPr>
            <p:cNvCxnSpPr/>
            <p:nvPr/>
          </p:nvCxnSpPr>
          <p:spPr>
            <a:xfrm flipV="1">
              <a:off x="494347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id="{D9835813-25FD-7A78-7D2C-BA0276633F73}"/>
                </a:ext>
              </a:extLst>
            </p:cNvPr>
            <p:cNvCxnSpPr/>
            <p:nvPr/>
          </p:nvCxnSpPr>
          <p:spPr>
            <a:xfrm flipV="1">
              <a:off x="691451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49D97D34-22BC-064C-066F-6D0E45566812}"/>
                </a:ext>
              </a:extLst>
            </p:cNvPr>
            <p:cNvCxnSpPr/>
            <p:nvPr/>
          </p:nvCxnSpPr>
          <p:spPr>
            <a:xfrm flipV="1">
              <a:off x="878776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BCDE8190-30CE-6D59-4E92-9034D8279468}"/>
                </a:ext>
              </a:extLst>
            </p:cNvPr>
            <p:cNvCxnSpPr/>
            <p:nvPr/>
          </p:nvCxnSpPr>
          <p:spPr>
            <a:xfrm flipV="1">
              <a:off x="3168650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7" name="直接连接符 66">
              <a:extLst>
                <a:ext uri="{FF2B5EF4-FFF2-40B4-BE49-F238E27FC236}">
                  <a16:creationId xmlns:a16="http://schemas.microsoft.com/office/drawing/2014/main" id="{3BF7792D-E14F-C42F-B68B-A2508CB74AD3}"/>
                </a:ext>
              </a:extLst>
            </p:cNvPr>
            <p:cNvCxnSpPr/>
            <p:nvPr/>
          </p:nvCxnSpPr>
          <p:spPr>
            <a:xfrm flipV="1">
              <a:off x="1042987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</p:grp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A08121CA-10CC-9D91-2121-1F05FEFD8924}"/>
              </a:ext>
            </a:extLst>
          </p:cNvPr>
          <p:cNvCxnSpPr/>
          <p:nvPr/>
        </p:nvCxnSpPr>
        <p:spPr>
          <a:xfrm flipH="1">
            <a:off x="4468052" y="4248828"/>
            <a:ext cx="187134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F515BF8-543A-97D7-9294-64B11F7E5EBC}"/>
              </a:ext>
            </a:extLst>
          </p:cNvPr>
          <p:cNvGrpSpPr/>
          <p:nvPr/>
        </p:nvGrpSpPr>
        <p:grpSpPr>
          <a:xfrm>
            <a:off x="4142525" y="1644522"/>
            <a:ext cx="638870" cy="630195"/>
            <a:chOff x="6585178" y="1674118"/>
            <a:chExt cx="638870" cy="630195"/>
          </a:xfrm>
        </p:grpSpPr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5F7DED3B-0AEE-37B7-5665-4C284B441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5517" y="1674118"/>
              <a:ext cx="458192" cy="458192"/>
            </a:xfrm>
            <a:prstGeom prst="rect">
              <a:avLst/>
            </a:prstGeom>
          </p:spPr>
        </p:pic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8B9C7C6-29C8-3242-A615-24B0DB9CDF24}"/>
                </a:ext>
              </a:extLst>
            </p:cNvPr>
            <p:cNvSpPr txBox="1"/>
            <p:nvPr/>
          </p:nvSpPr>
          <p:spPr>
            <a:xfrm>
              <a:off x="6585178" y="2073481"/>
              <a:ext cx="6388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Bamboo</a:t>
              </a: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CAF0A48E-8624-C541-58D9-693E7A5CD2E7}"/>
              </a:ext>
            </a:extLst>
          </p:cNvPr>
          <p:cNvGrpSpPr/>
          <p:nvPr/>
        </p:nvGrpSpPr>
        <p:grpSpPr>
          <a:xfrm>
            <a:off x="2226813" y="1677897"/>
            <a:ext cx="458191" cy="563445"/>
            <a:chOff x="4669466" y="1739772"/>
            <a:chExt cx="458191" cy="563445"/>
          </a:xfrm>
        </p:grpSpPr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59EF0928-3BF6-F42A-4AD8-62652BC32FEC}"/>
                </a:ext>
              </a:extLst>
            </p:cNvPr>
            <p:cNvSpPr txBox="1"/>
            <p:nvPr/>
          </p:nvSpPr>
          <p:spPr>
            <a:xfrm>
              <a:off x="4669466" y="2073481"/>
              <a:ext cx="458191" cy="229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CR</a:t>
              </a:r>
            </a:p>
          </p:txBody>
        </p:sp>
        <p:pic>
          <p:nvPicPr>
            <p:cNvPr id="15" name="图形 14">
              <a:extLst>
                <a:ext uri="{FF2B5EF4-FFF2-40B4-BE49-F238E27FC236}">
                  <a16:creationId xmlns:a16="http://schemas.microsoft.com/office/drawing/2014/main" id="{1D3B2D0B-3E41-A109-9E9F-DFE0B7772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07185" y="1739772"/>
              <a:ext cx="370470" cy="326885"/>
            </a:xfrm>
            <a:prstGeom prst="rect">
              <a:avLst/>
            </a:prstGeom>
          </p:spPr>
        </p:pic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151E4230-5CF4-2974-F098-A20BBE7F3EF5}"/>
              </a:ext>
            </a:extLst>
          </p:cNvPr>
          <p:cNvSpPr txBox="1"/>
          <p:nvPr/>
        </p:nvSpPr>
        <p:spPr>
          <a:xfrm>
            <a:off x="7556580" y="1750268"/>
            <a:ext cx="860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ZC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tform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67B2A268-D8B3-1CF7-BD18-CE17F3034D8C}"/>
              </a:ext>
            </a:extLst>
          </p:cNvPr>
          <p:cNvGrpSpPr/>
          <p:nvPr/>
        </p:nvGrpSpPr>
        <p:grpSpPr>
          <a:xfrm>
            <a:off x="181265" y="1575272"/>
            <a:ext cx="991039" cy="768694"/>
            <a:chOff x="2623918" y="1674119"/>
            <a:chExt cx="991039" cy="768694"/>
          </a:xfrm>
        </p:grpSpPr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B03D811-A9D9-16C7-3340-A855BAFDE344}"/>
                </a:ext>
              </a:extLst>
            </p:cNvPr>
            <p:cNvSpPr txBox="1"/>
            <p:nvPr/>
          </p:nvSpPr>
          <p:spPr>
            <a:xfrm>
              <a:off x="2623918" y="2073481"/>
              <a:ext cx="9910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Helm Chart</a:t>
              </a:r>
              <a:r>
                <a:rPr kumimoji="0" lang="zh-CN" alt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itbucket</a:t>
              </a:r>
            </a:p>
          </p:txBody>
        </p:sp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739F9821-E338-4980-51A0-5DE4D964B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87332" y="1674119"/>
              <a:ext cx="458191" cy="458191"/>
            </a:xfrm>
            <a:prstGeom prst="rect">
              <a:avLst/>
            </a:prstGeom>
          </p:spPr>
        </p:pic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86875E1-B148-0740-78A1-B4E55FC90910}"/>
              </a:ext>
            </a:extLst>
          </p:cNvPr>
          <p:cNvGrpSpPr/>
          <p:nvPr/>
        </p:nvGrpSpPr>
        <p:grpSpPr>
          <a:xfrm>
            <a:off x="9182650" y="1686698"/>
            <a:ext cx="825833" cy="718360"/>
            <a:chOff x="8367068" y="1674119"/>
            <a:chExt cx="825833" cy="718360"/>
          </a:xfrm>
        </p:grpSpPr>
        <p:pic>
          <p:nvPicPr>
            <p:cNvPr id="23" name="图形 22">
              <a:extLst>
                <a:ext uri="{FF2B5EF4-FFF2-40B4-BE49-F238E27FC236}">
                  <a16:creationId xmlns:a16="http://schemas.microsoft.com/office/drawing/2014/main" id="{35945D94-89F9-EB01-9AF4-64C68148A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50889" y="1674119"/>
              <a:ext cx="458191" cy="458191"/>
            </a:xfrm>
            <a:prstGeom prst="rect">
              <a:avLst/>
            </a:prstGeom>
          </p:spPr>
        </p:pic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35EF5FEB-583D-DEB0-237E-B8D2222F7250}"/>
                </a:ext>
              </a:extLst>
            </p:cNvPr>
            <p:cNvSpPr txBox="1"/>
            <p:nvPr/>
          </p:nvSpPr>
          <p:spPr>
            <a:xfrm>
              <a:off x="8367068" y="2023147"/>
              <a:ext cx="825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zure AKS</a:t>
              </a:r>
              <a:b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PI Server</a:t>
              </a:r>
            </a:p>
          </p:txBody>
        </p:sp>
      </p:grpSp>
      <p:sp>
        <p:nvSpPr>
          <p:cNvPr id="30" name="下弧形箭头 29">
            <a:extLst>
              <a:ext uri="{FF2B5EF4-FFF2-40B4-BE49-F238E27FC236}">
                <a16:creationId xmlns:a16="http://schemas.microsoft.com/office/drawing/2014/main" id="{691D133C-EF8F-E306-9D5C-CBE2DA3DC44D}"/>
              </a:ext>
            </a:extLst>
          </p:cNvPr>
          <p:cNvSpPr/>
          <p:nvPr/>
        </p:nvSpPr>
        <p:spPr>
          <a:xfrm rot="5400000">
            <a:off x="4439139" y="3017528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42" name="终止符 41">
            <a:extLst>
              <a:ext uri="{FF2B5EF4-FFF2-40B4-BE49-F238E27FC236}">
                <a16:creationId xmlns:a16="http://schemas.microsoft.com/office/drawing/2014/main" id="{FCDEF8A7-EF34-4D88-9D8F-19FEB0E31056}"/>
              </a:ext>
            </a:extLst>
          </p:cNvPr>
          <p:cNvSpPr/>
          <p:nvPr/>
        </p:nvSpPr>
        <p:spPr>
          <a:xfrm>
            <a:off x="4107621" y="4352831"/>
            <a:ext cx="746620" cy="346234"/>
          </a:xfrm>
          <a:prstGeom prst="flowChartTerminator">
            <a:avLst/>
          </a:prstGeom>
          <a:solidFill>
            <a:srgbClr val="EE1A3D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终止符 42">
            <a:extLst>
              <a:ext uri="{FF2B5EF4-FFF2-40B4-BE49-F238E27FC236}">
                <a16:creationId xmlns:a16="http://schemas.microsoft.com/office/drawing/2014/main" id="{895DC0EE-4FB6-A494-4D4C-454ED1D81C93}"/>
              </a:ext>
            </a:extLst>
          </p:cNvPr>
          <p:cNvSpPr/>
          <p:nvPr/>
        </p:nvSpPr>
        <p:spPr>
          <a:xfrm>
            <a:off x="4107621" y="2418292"/>
            <a:ext cx="746620" cy="346234"/>
          </a:xfrm>
          <a:prstGeom prst="flowChartTerminator">
            <a:avLst/>
          </a:prstGeom>
          <a:solidFill>
            <a:srgbClr val="00B050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终止符 2">
            <a:extLst>
              <a:ext uri="{FF2B5EF4-FFF2-40B4-BE49-F238E27FC236}">
                <a16:creationId xmlns:a16="http://schemas.microsoft.com/office/drawing/2014/main" id="{D4B824B1-EC83-D948-D3A3-D7F66ADB6408}"/>
              </a:ext>
            </a:extLst>
          </p:cNvPr>
          <p:cNvSpPr/>
          <p:nvPr/>
        </p:nvSpPr>
        <p:spPr>
          <a:xfrm>
            <a:off x="4107621" y="3356887"/>
            <a:ext cx="746620" cy="346234"/>
          </a:xfrm>
          <a:prstGeom prst="flowChartTerminator">
            <a:avLst/>
          </a:prstGeom>
          <a:solidFill>
            <a:srgbClr val="EE1A3D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终止符 3">
            <a:extLst>
              <a:ext uri="{FF2B5EF4-FFF2-40B4-BE49-F238E27FC236}">
                <a16:creationId xmlns:a16="http://schemas.microsoft.com/office/drawing/2014/main" id="{78FC769F-A3B2-1A73-38B2-57CDD7B1C334}"/>
              </a:ext>
            </a:extLst>
          </p:cNvPr>
          <p:cNvSpPr/>
          <p:nvPr/>
        </p:nvSpPr>
        <p:spPr>
          <a:xfrm>
            <a:off x="4107621" y="3792559"/>
            <a:ext cx="746620" cy="346234"/>
          </a:xfrm>
          <a:prstGeom prst="flowChartTerminator">
            <a:avLst/>
          </a:prstGeom>
          <a:solidFill>
            <a:srgbClr val="00B050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001E8CE5-8B44-3918-2C4B-8BE15FE543B3}"/>
              </a:ext>
            </a:extLst>
          </p:cNvPr>
          <p:cNvSpPr/>
          <p:nvPr/>
        </p:nvSpPr>
        <p:spPr>
          <a:xfrm>
            <a:off x="2440975" y="4780245"/>
            <a:ext cx="8515044" cy="1794176"/>
          </a:xfrm>
          <a:prstGeom prst="roundRect">
            <a:avLst/>
          </a:prstGeom>
          <a:solidFill>
            <a:srgbClr val="05B050">
              <a:alpha val="1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66" name="直接箭头连接符 65">
            <a:extLst>
              <a:ext uri="{FF2B5EF4-FFF2-40B4-BE49-F238E27FC236}">
                <a16:creationId xmlns:a16="http://schemas.microsoft.com/office/drawing/2014/main" id="{4FB5D646-190D-0719-C158-227CAA0A153F}"/>
              </a:ext>
            </a:extLst>
          </p:cNvPr>
          <p:cNvCxnSpPr>
            <a:cxnSpLocks/>
          </p:cNvCxnSpPr>
          <p:nvPr/>
        </p:nvCxnSpPr>
        <p:spPr>
          <a:xfrm flipH="1">
            <a:off x="2507172" y="5160749"/>
            <a:ext cx="384175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68" name="圆角矩形 67">
            <a:extLst>
              <a:ext uri="{FF2B5EF4-FFF2-40B4-BE49-F238E27FC236}">
                <a16:creationId xmlns:a16="http://schemas.microsoft.com/office/drawing/2014/main" id="{D8AA2EBD-8707-6B59-E497-6CCB7F9C8E22}"/>
              </a:ext>
            </a:extLst>
          </p:cNvPr>
          <p:cNvSpPr/>
          <p:nvPr/>
        </p:nvSpPr>
        <p:spPr>
          <a:xfrm>
            <a:off x="2501457" y="4918292"/>
            <a:ext cx="3068309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④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P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ull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application docker Image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85" name="直接箭头连接符 84">
            <a:extLst>
              <a:ext uri="{FF2B5EF4-FFF2-40B4-BE49-F238E27FC236}">
                <a16:creationId xmlns:a16="http://schemas.microsoft.com/office/drawing/2014/main" id="{4FC089D9-25AB-8943-BCAE-96BE73BCB8DF}"/>
              </a:ext>
            </a:extLst>
          </p:cNvPr>
          <p:cNvCxnSpPr/>
          <p:nvPr/>
        </p:nvCxnSpPr>
        <p:spPr>
          <a:xfrm flipH="1">
            <a:off x="6348922" y="5722356"/>
            <a:ext cx="163322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BAF87B4F-C1D3-B82A-9498-3FB0E314F137}"/>
              </a:ext>
            </a:extLst>
          </p:cNvPr>
          <p:cNvSpPr/>
          <p:nvPr/>
        </p:nvSpPr>
        <p:spPr>
          <a:xfrm>
            <a:off x="6575412" y="5403089"/>
            <a:ext cx="2638435" cy="39878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⑤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rigge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he Fusion Application Deploymen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DD727A3C-2D82-F061-E4E5-B3F575A01538}"/>
              </a:ext>
            </a:extLst>
          </p:cNvPr>
          <p:cNvSpPr/>
          <p:nvPr/>
        </p:nvSpPr>
        <p:spPr>
          <a:xfrm>
            <a:off x="6578616" y="6197609"/>
            <a:ext cx="1163626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7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Auto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exi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下弧形箭头 32">
            <a:extLst>
              <a:ext uri="{FF2B5EF4-FFF2-40B4-BE49-F238E27FC236}">
                <a16:creationId xmlns:a16="http://schemas.microsoft.com/office/drawing/2014/main" id="{4AF584E3-6D1F-2052-57B8-5B40BC489F72}"/>
              </a:ext>
            </a:extLst>
          </p:cNvPr>
          <p:cNvSpPr/>
          <p:nvPr/>
        </p:nvSpPr>
        <p:spPr>
          <a:xfrm rot="5400000">
            <a:off x="6311672" y="6205946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8E19A55-0B63-D685-D695-0C67111EA41C}"/>
              </a:ext>
            </a:extLst>
          </p:cNvPr>
          <p:cNvSpPr/>
          <p:nvPr/>
        </p:nvSpPr>
        <p:spPr>
          <a:xfrm>
            <a:off x="6343842" y="4248829"/>
            <a:ext cx="84545" cy="91908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E06A103-E9CC-F4DE-7660-F9D0D65D2431}"/>
              </a:ext>
            </a:extLst>
          </p:cNvPr>
          <p:cNvSpPr txBox="1"/>
          <p:nvPr/>
        </p:nvSpPr>
        <p:spPr>
          <a:xfrm>
            <a:off x="4679534" y="4777823"/>
            <a:ext cx="1144480" cy="24622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altLang="zh-SG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sync</a:t>
            </a:r>
            <a:r>
              <a:rPr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Operation</a:t>
            </a:r>
            <a:endParaRPr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EFFD4DE3-B482-D9DB-296C-417A4544FAE3}"/>
              </a:ext>
            </a:extLst>
          </p:cNvPr>
          <p:cNvSpPr/>
          <p:nvPr/>
        </p:nvSpPr>
        <p:spPr>
          <a:xfrm>
            <a:off x="6577449" y="5196833"/>
            <a:ext cx="2550526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④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pod create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successful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下弧形箭头 25">
            <a:extLst>
              <a:ext uri="{FF2B5EF4-FFF2-40B4-BE49-F238E27FC236}">
                <a16:creationId xmlns:a16="http://schemas.microsoft.com/office/drawing/2014/main" id="{B3F666FA-28E3-808B-9DFF-4FC7E691B6CA}"/>
              </a:ext>
            </a:extLst>
          </p:cNvPr>
          <p:cNvSpPr/>
          <p:nvPr/>
        </p:nvSpPr>
        <p:spPr>
          <a:xfrm rot="5400000">
            <a:off x="6309898" y="5205170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0316472-A7DE-6E29-E88E-3B9B1490A970}"/>
              </a:ext>
            </a:extLst>
          </p:cNvPr>
          <p:cNvSpPr txBox="1">
            <a:spLocks/>
          </p:cNvSpPr>
          <p:nvPr/>
        </p:nvSpPr>
        <p:spPr>
          <a:xfrm>
            <a:off x="181265" y="145050"/>
            <a:ext cx="6165106" cy="7909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CI/CD flow for initial installation</a:t>
            </a:r>
            <a:br>
              <a:rPr lang="en-US" altLang="zh-CN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 - Step3: CD-Flow</a:t>
            </a:r>
            <a:r>
              <a:rPr lang="en-US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mport Config Data via Support Center)</a:t>
            </a:r>
            <a:endParaRPr lang="zh-CN" altLang="en-US" b="0" dirty="0">
              <a:solidFill>
                <a:srgbClr val="EE1A3D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BD929B3-4427-1A46-E021-B3A8481641E5}"/>
              </a:ext>
            </a:extLst>
          </p:cNvPr>
          <p:cNvSpPr txBox="1"/>
          <p:nvPr/>
        </p:nvSpPr>
        <p:spPr>
          <a:xfrm>
            <a:off x="181265" y="992850"/>
            <a:ext cx="11399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onfiguration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includes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: APIG, BFM, TFM, RLC, MQ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opic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portal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enu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JobServer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portal vertical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rivilege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CIC, and STC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2" name="直接连接符 63">
            <a:extLst>
              <a:ext uri="{FF2B5EF4-FFF2-40B4-BE49-F238E27FC236}">
                <a16:creationId xmlns:a16="http://schemas.microsoft.com/office/drawing/2014/main" id="{7A2706DA-0A12-4FB6-43AF-6FF665A1B056}"/>
              </a:ext>
            </a:extLst>
          </p:cNvPr>
          <p:cNvCxnSpPr/>
          <p:nvPr/>
        </p:nvCxnSpPr>
        <p:spPr>
          <a:xfrm flipV="1">
            <a:off x="9660161" y="2343966"/>
            <a:ext cx="0" cy="451352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257D6A5D-2CC4-E1E2-85D6-81D45A818A07}"/>
              </a:ext>
            </a:extLst>
          </p:cNvPr>
          <p:cNvGrpSpPr/>
          <p:nvPr/>
        </p:nvGrpSpPr>
        <p:grpSpPr>
          <a:xfrm>
            <a:off x="5926480" y="1688303"/>
            <a:ext cx="825833" cy="630194"/>
            <a:chOff x="8367068" y="1674119"/>
            <a:chExt cx="825833" cy="630194"/>
          </a:xfrm>
        </p:grpSpPr>
        <p:pic>
          <p:nvPicPr>
            <p:cNvPr id="19" name="图形 18">
              <a:extLst>
                <a:ext uri="{FF2B5EF4-FFF2-40B4-BE49-F238E27FC236}">
                  <a16:creationId xmlns:a16="http://schemas.microsoft.com/office/drawing/2014/main" id="{BD6DA260-D44C-526B-9DB2-1D402BB6B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50889" y="1674119"/>
              <a:ext cx="458191" cy="458191"/>
            </a:xfrm>
            <a:prstGeom prst="rect">
              <a:avLst/>
            </a:prstGeom>
          </p:spPr>
        </p:pic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E86B06F5-1EAA-1830-D024-142F0D7DC34E}"/>
                </a:ext>
              </a:extLst>
            </p:cNvPr>
            <p:cNvSpPr txBox="1"/>
            <p:nvPr/>
          </p:nvSpPr>
          <p:spPr>
            <a:xfrm>
              <a:off x="8367068" y="2073481"/>
              <a:ext cx="82583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zure AKS</a:t>
              </a:r>
            </a:p>
          </p:txBody>
        </p:sp>
      </p:grpSp>
      <p:cxnSp>
        <p:nvCxnSpPr>
          <p:cNvPr id="35" name="直接箭头连接符 84">
            <a:extLst>
              <a:ext uri="{FF2B5EF4-FFF2-40B4-BE49-F238E27FC236}">
                <a16:creationId xmlns:a16="http://schemas.microsoft.com/office/drawing/2014/main" id="{172EB088-33E0-500B-3276-ADF9870740C2}"/>
              </a:ext>
            </a:extLst>
          </p:cNvPr>
          <p:cNvCxnSpPr>
            <a:cxnSpLocks/>
          </p:cNvCxnSpPr>
          <p:nvPr/>
        </p:nvCxnSpPr>
        <p:spPr>
          <a:xfrm flipH="1">
            <a:off x="7982142" y="6034147"/>
            <a:ext cx="167801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E37592E0-B54E-82C5-7D0B-EC5CD5159073}"/>
              </a:ext>
            </a:extLst>
          </p:cNvPr>
          <p:cNvSpPr/>
          <p:nvPr/>
        </p:nvSpPr>
        <p:spPr>
          <a:xfrm>
            <a:off x="7920300" y="5734779"/>
            <a:ext cx="2638435" cy="39878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⑥ Trigge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he Fusion Application Deploymen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57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24DC8D7-8499-5935-7263-D4320214E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F82CC9F2-E5A4-156C-9D15-E1C9BDCD0978}"/>
              </a:ext>
            </a:extLst>
          </p:cNvPr>
          <p:cNvSpPr txBox="1"/>
          <p:nvPr/>
        </p:nvSpPr>
        <p:spPr>
          <a:xfrm>
            <a:off x="496950" y="234799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2FA1E8E2-C86F-5C30-5E55-3BFB575051B4}"/>
              </a:ext>
            </a:extLst>
          </p:cNvPr>
          <p:cNvGraphicFramePr>
            <a:graphicFrameLocks noGrp="1"/>
          </p:cNvGraphicFramePr>
          <p:nvPr/>
        </p:nvGraphicFramePr>
        <p:xfrm>
          <a:off x="1965364" y="1045634"/>
          <a:ext cx="9856998" cy="5492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29138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37705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4919026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DFB859D6-C928-8DD6-C632-0478748A4853}"/>
              </a:ext>
            </a:extLst>
          </p:cNvPr>
          <p:cNvSpPr/>
          <p:nvPr/>
        </p:nvSpPr>
        <p:spPr>
          <a:xfrm>
            <a:off x="216977" y="3549444"/>
            <a:ext cx="1624701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2245C021-605F-3B28-7A0D-38DAB607FDC7}"/>
              </a:ext>
            </a:extLst>
          </p:cNvPr>
          <p:cNvSpPr/>
          <p:nvPr/>
        </p:nvSpPr>
        <p:spPr>
          <a:xfrm>
            <a:off x="747548" y="3760148"/>
            <a:ext cx="992898" cy="886902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AC24DA41-9FB3-E83A-D856-A062A3B6ABB3}"/>
              </a:ext>
            </a:extLst>
          </p:cNvPr>
          <p:cNvSpPr txBox="1"/>
          <p:nvPr/>
        </p:nvSpPr>
        <p:spPr>
          <a:xfrm>
            <a:off x="316882" y="3760146"/>
            <a:ext cx="406741" cy="88690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D33E50E9-F57D-CAE0-6D04-706600651FCF}"/>
              </a:ext>
            </a:extLst>
          </p:cNvPr>
          <p:cNvSpPr/>
          <p:nvPr/>
        </p:nvSpPr>
        <p:spPr>
          <a:xfrm>
            <a:off x="216977" y="4976796"/>
            <a:ext cx="1624702" cy="145175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51AC4900-AB30-588E-0F90-752D6AAAB62D}"/>
              </a:ext>
            </a:extLst>
          </p:cNvPr>
          <p:cNvSpPr/>
          <p:nvPr/>
        </p:nvSpPr>
        <p:spPr>
          <a:xfrm>
            <a:off x="755297" y="5168521"/>
            <a:ext cx="992898" cy="896111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384C9F8C-08DB-1BDF-F911-C9918070D567}"/>
              </a:ext>
            </a:extLst>
          </p:cNvPr>
          <p:cNvSpPr txBox="1"/>
          <p:nvPr/>
        </p:nvSpPr>
        <p:spPr>
          <a:xfrm>
            <a:off x="324631" y="5168521"/>
            <a:ext cx="406741" cy="89611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C91BC2D0-E593-4B89-36E1-684DDA2C2EB6}"/>
              </a:ext>
            </a:extLst>
          </p:cNvPr>
          <p:cNvSpPr/>
          <p:nvPr/>
        </p:nvSpPr>
        <p:spPr>
          <a:xfrm>
            <a:off x="216977" y="1728608"/>
            <a:ext cx="1624702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AE8B09C1-A72C-5530-1F48-3D368864979A}"/>
              </a:ext>
            </a:extLst>
          </p:cNvPr>
          <p:cNvSpPr/>
          <p:nvPr/>
        </p:nvSpPr>
        <p:spPr>
          <a:xfrm>
            <a:off x="747548" y="2089583"/>
            <a:ext cx="992898" cy="10044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DEV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EAB91DE4-ADA8-1983-D303-E95354B275BF}"/>
              </a:ext>
            </a:extLst>
          </p:cNvPr>
          <p:cNvSpPr/>
          <p:nvPr/>
        </p:nvSpPr>
        <p:spPr>
          <a:xfrm>
            <a:off x="1841678" y="1728496"/>
            <a:ext cx="9980685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2C4725E6-C2B8-EE53-C39A-AA66B6673A20}"/>
              </a:ext>
            </a:extLst>
          </p:cNvPr>
          <p:cNvSpPr/>
          <p:nvPr/>
        </p:nvSpPr>
        <p:spPr>
          <a:xfrm>
            <a:off x="1965365" y="1797803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2CAEB739-19FF-6A20-7F28-904AA99987D6}"/>
              </a:ext>
            </a:extLst>
          </p:cNvPr>
          <p:cNvSpPr/>
          <p:nvPr/>
        </p:nvSpPr>
        <p:spPr>
          <a:xfrm>
            <a:off x="1965365" y="2071481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F32D6051-C0C7-2FAD-0FBA-C63F4B2F9BF6}"/>
              </a:ext>
            </a:extLst>
          </p:cNvPr>
          <p:cNvSpPr/>
          <p:nvPr/>
        </p:nvSpPr>
        <p:spPr>
          <a:xfrm>
            <a:off x="2691114" y="2342266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A7C41BC4-938D-D74E-B724-E965D0DBAB67}"/>
              </a:ext>
            </a:extLst>
          </p:cNvPr>
          <p:cNvSpPr/>
          <p:nvPr/>
        </p:nvSpPr>
        <p:spPr>
          <a:xfrm>
            <a:off x="3061504" y="2618837"/>
            <a:ext cx="823162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B05CC5D8-7633-8A87-F3DE-3A76B1AB52A8}"/>
              </a:ext>
            </a:extLst>
          </p:cNvPr>
          <p:cNvSpPr/>
          <p:nvPr/>
        </p:nvSpPr>
        <p:spPr>
          <a:xfrm>
            <a:off x="3884666" y="2886878"/>
            <a:ext cx="81859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Integration Test in New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9A1F23A3-43AF-513D-7058-9F5F435813A6}"/>
              </a:ext>
            </a:extLst>
          </p:cNvPr>
          <p:cNvSpPr/>
          <p:nvPr/>
        </p:nvSpPr>
        <p:spPr>
          <a:xfrm>
            <a:off x="2691115" y="3115667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C1C83BB6-7249-C424-FFCB-EAA2BBA24848}"/>
              </a:ext>
            </a:extLst>
          </p:cNvPr>
          <p:cNvSpPr/>
          <p:nvPr/>
        </p:nvSpPr>
        <p:spPr>
          <a:xfrm>
            <a:off x="4703263" y="3108061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EDAD8FE-F8A6-E977-874D-081C8BCD0AAE}"/>
              </a:ext>
            </a:extLst>
          </p:cNvPr>
          <p:cNvSpPr txBox="1"/>
          <p:nvPr/>
        </p:nvSpPr>
        <p:spPr>
          <a:xfrm>
            <a:off x="316882" y="2089583"/>
            <a:ext cx="406741" cy="10044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32AA7055-FDA0-9701-A0AD-CB41C283E996}"/>
              </a:ext>
            </a:extLst>
          </p:cNvPr>
          <p:cNvSpPr/>
          <p:nvPr/>
        </p:nvSpPr>
        <p:spPr>
          <a:xfrm>
            <a:off x="1841677" y="3549444"/>
            <a:ext cx="9980685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83FE5E9A-7F69-8661-586B-3CFDDF01D90D}"/>
              </a:ext>
            </a:extLst>
          </p:cNvPr>
          <p:cNvSpPr/>
          <p:nvPr/>
        </p:nvSpPr>
        <p:spPr>
          <a:xfrm>
            <a:off x="3611300" y="3600932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82261D1-B22A-DD54-A6CA-2899CBFCFBB7}"/>
              </a:ext>
            </a:extLst>
          </p:cNvPr>
          <p:cNvSpPr/>
          <p:nvPr/>
        </p:nvSpPr>
        <p:spPr>
          <a:xfrm>
            <a:off x="4153466" y="3820930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AC8A62CE-F7E7-8198-EA6D-B50AAC1101DF}"/>
              </a:ext>
            </a:extLst>
          </p:cNvPr>
          <p:cNvSpPr/>
          <p:nvPr/>
        </p:nvSpPr>
        <p:spPr>
          <a:xfrm>
            <a:off x="3607060" y="4033850"/>
            <a:ext cx="54979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F57B7CA-EE09-DA76-144F-97255F628D21}"/>
              </a:ext>
            </a:extLst>
          </p:cNvPr>
          <p:cNvSpPr/>
          <p:nvPr/>
        </p:nvSpPr>
        <p:spPr>
          <a:xfrm>
            <a:off x="5248816" y="4434144"/>
            <a:ext cx="1089021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99162984-BC54-51A5-E5A7-4D3CA73E3840}"/>
              </a:ext>
            </a:extLst>
          </p:cNvPr>
          <p:cNvSpPr/>
          <p:nvPr/>
        </p:nvSpPr>
        <p:spPr>
          <a:xfrm>
            <a:off x="5523978" y="4663110"/>
            <a:ext cx="26904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9D7347C6-8B59-C5BC-DE55-29EEC92AF47B}"/>
              </a:ext>
            </a:extLst>
          </p:cNvPr>
          <p:cNvSpPr/>
          <p:nvPr/>
        </p:nvSpPr>
        <p:spPr>
          <a:xfrm>
            <a:off x="1846820" y="4976797"/>
            <a:ext cx="9980685" cy="146093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0E33037E-BFD5-AEE9-5F1E-45A0B085E25B}"/>
              </a:ext>
            </a:extLst>
          </p:cNvPr>
          <p:cNvSpPr/>
          <p:nvPr/>
        </p:nvSpPr>
        <p:spPr>
          <a:xfrm>
            <a:off x="4156181" y="5048102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9ABF1DD6-2940-387F-0BDD-19F95D965C38}"/>
              </a:ext>
            </a:extLst>
          </p:cNvPr>
          <p:cNvSpPr/>
          <p:nvPr/>
        </p:nvSpPr>
        <p:spPr>
          <a:xfrm>
            <a:off x="4703788" y="5249580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48E9EE85-D70C-32CA-8350-29329D1C5094}"/>
              </a:ext>
            </a:extLst>
          </p:cNvPr>
          <p:cNvSpPr/>
          <p:nvPr/>
        </p:nvSpPr>
        <p:spPr>
          <a:xfrm>
            <a:off x="4155420" y="5473988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0B9655E1-33E4-0CF3-9F0A-024D34A1659E}"/>
              </a:ext>
            </a:extLst>
          </p:cNvPr>
          <p:cNvSpPr/>
          <p:nvPr/>
        </p:nvSpPr>
        <p:spPr>
          <a:xfrm>
            <a:off x="6337837" y="5999725"/>
            <a:ext cx="556026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F934CD8A-CE71-6B1B-BDE8-452B14B73836}"/>
              </a:ext>
            </a:extLst>
          </p:cNvPr>
          <p:cNvSpPr/>
          <p:nvPr/>
        </p:nvSpPr>
        <p:spPr>
          <a:xfrm>
            <a:off x="5245346" y="5718772"/>
            <a:ext cx="1092491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T Test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0AC37B18-BE1A-ACBC-F01E-88F47D9C66F9}"/>
              </a:ext>
            </a:extLst>
          </p:cNvPr>
          <p:cNvSpPr/>
          <p:nvPr/>
        </p:nvSpPr>
        <p:spPr>
          <a:xfrm>
            <a:off x="4700738" y="4219344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77C4B5EB-72C5-979F-E074-193C269748E3}"/>
              </a:ext>
            </a:extLst>
          </p:cNvPr>
          <p:cNvSpPr/>
          <p:nvPr/>
        </p:nvSpPr>
        <p:spPr>
          <a:xfrm>
            <a:off x="6338653" y="4187920"/>
            <a:ext cx="554394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849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B5E60-CA3B-182A-32DE-237B7C54F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C98719D5-4882-1917-DAD5-9384CA6CF380}"/>
              </a:ext>
            </a:extLst>
          </p:cNvPr>
          <p:cNvSpPr txBox="1"/>
          <p:nvPr/>
        </p:nvSpPr>
        <p:spPr>
          <a:xfrm>
            <a:off x="496950" y="234799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750E24BE-73A6-E371-322A-E9F2EE206A9F}"/>
              </a:ext>
            </a:extLst>
          </p:cNvPr>
          <p:cNvGraphicFramePr>
            <a:graphicFrameLocks noGrp="1"/>
          </p:cNvGraphicFramePr>
          <p:nvPr/>
        </p:nvGraphicFramePr>
        <p:xfrm>
          <a:off x="1965364" y="1045634"/>
          <a:ext cx="9856998" cy="5492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29138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37705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4919026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6A20B5C0-BBEC-4FB0-B30E-7C9B4479CB18}"/>
              </a:ext>
            </a:extLst>
          </p:cNvPr>
          <p:cNvSpPr/>
          <p:nvPr/>
        </p:nvSpPr>
        <p:spPr>
          <a:xfrm>
            <a:off x="216977" y="3549444"/>
            <a:ext cx="1624701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D71B41D1-B16D-4201-3A60-FE5FAA385701}"/>
              </a:ext>
            </a:extLst>
          </p:cNvPr>
          <p:cNvSpPr/>
          <p:nvPr/>
        </p:nvSpPr>
        <p:spPr>
          <a:xfrm>
            <a:off x="747548" y="3760148"/>
            <a:ext cx="992898" cy="886902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29DAC326-C241-87B8-6625-7531A40D2DB5}"/>
              </a:ext>
            </a:extLst>
          </p:cNvPr>
          <p:cNvSpPr txBox="1"/>
          <p:nvPr/>
        </p:nvSpPr>
        <p:spPr>
          <a:xfrm>
            <a:off x="316882" y="3760146"/>
            <a:ext cx="406741" cy="88690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CADBC7D4-7DDD-785B-6325-D5393810C3D2}"/>
              </a:ext>
            </a:extLst>
          </p:cNvPr>
          <p:cNvSpPr/>
          <p:nvPr/>
        </p:nvSpPr>
        <p:spPr>
          <a:xfrm>
            <a:off x="216977" y="4976796"/>
            <a:ext cx="1624702" cy="145175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06BCDD1E-07EE-20C6-A06E-B62C00F81198}"/>
              </a:ext>
            </a:extLst>
          </p:cNvPr>
          <p:cNvSpPr/>
          <p:nvPr/>
        </p:nvSpPr>
        <p:spPr>
          <a:xfrm>
            <a:off x="755297" y="5168521"/>
            <a:ext cx="992898" cy="896111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E6402CB5-E90C-03A6-C3E4-26DF9C18425E}"/>
              </a:ext>
            </a:extLst>
          </p:cNvPr>
          <p:cNvSpPr txBox="1"/>
          <p:nvPr/>
        </p:nvSpPr>
        <p:spPr>
          <a:xfrm>
            <a:off x="324631" y="5168521"/>
            <a:ext cx="406741" cy="89611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2E940B85-6E64-A1C9-66EF-27B35EA9CC4C}"/>
              </a:ext>
            </a:extLst>
          </p:cNvPr>
          <p:cNvSpPr/>
          <p:nvPr/>
        </p:nvSpPr>
        <p:spPr>
          <a:xfrm>
            <a:off x="216977" y="1728608"/>
            <a:ext cx="1624702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499B6CD5-87D0-B89B-6F83-74C9D341EC01}"/>
              </a:ext>
            </a:extLst>
          </p:cNvPr>
          <p:cNvSpPr/>
          <p:nvPr/>
        </p:nvSpPr>
        <p:spPr>
          <a:xfrm>
            <a:off x="747548" y="2089583"/>
            <a:ext cx="992898" cy="10044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DEV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4FC4EA84-6BFD-A70B-CC91-FCFF4F82285F}"/>
              </a:ext>
            </a:extLst>
          </p:cNvPr>
          <p:cNvSpPr/>
          <p:nvPr/>
        </p:nvSpPr>
        <p:spPr>
          <a:xfrm>
            <a:off x="1841678" y="1728496"/>
            <a:ext cx="9980685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93D75797-540A-629A-AEA4-8BB546707B51}"/>
              </a:ext>
            </a:extLst>
          </p:cNvPr>
          <p:cNvSpPr/>
          <p:nvPr/>
        </p:nvSpPr>
        <p:spPr>
          <a:xfrm>
            <a:off x="1965365" y="1797803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D57CE532-528D-9185-D37D-5D6D88887CB0}"/>
              </a:ext>
            </a:extLst>
          </p:cNvPr>
          <p:cNvSpPr/>
          <p:nvPr/>
        </p:nvSpPr>
        <p:spPr>
          <a:xfrm>
            <a:off x="1965365" y="2071481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1F29BA52-7CE8-34ED-A34F-A593E81B05AF}"/>
              </a:ext>
            </a:extLst>
          </p:cNvPr>
          <p:cNvSpPr/>
          <p:nvPr/>
        </p:nvSpPr>
        <p:spPr>
          <a:xfrm>
            <a:off x="2691114" y="2342266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A2AF531A-0E35-FCD0-8EAF-C9FDDD50F944}"/>
              </a:ext>
            </a:extLst>
          </p:cNvPr>
          <p:cNvSpPr/>
          <p:nvPr/>
        </p:nvSpPr>
        <p:spPr>
          <a:xfrm>
            <a:off x="3061504" y="2618837"/>
            <a:ext cx="108833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FAC8E7E2-1FD6-3D59-D2AE-1BFAE82882BF}"/>
              </a:ext>
            </a:extLst>
          </p:cNvPr>
          <p:cNvSpPr/>
          <p:nvPr/>
        </p:nvSpPr>
        <p:spPr>
          <a:xfrm>
            <a:off x="4149842" y="2886878"/>
            <a:ext cx="81859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Integration Test in New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4D539C96-FE6B-548C-3B18-639A19CB13D0}"/>
              </a:ext>
            </a:extLst>
          </p:cNvPr>
          <p:cNvSpPr/>
          <p:nvPr/>
        </p:nvSpPr>
        <p:spPr>
          <a:xfrm>
            <a:off x="2691115" y="3115667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8B2266CF-41CA-7971-1899-54396C86736E}"/>
              </a:ext>
            </a:extLst>
          </p:cNvPr>
          <p:cNvSpPr/>
          <p:nvPr/>
        </p:nvSpPr>
        <p:spPr>
          <a:xfrm>
            <a:off x="4968439" y="3108061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EC067FE-99D9-41DD-E17F-158FA04EBE18}"/>
              </a:ext>
            </a:extLst>
          </p:cNvPr>
          <p:cNvSpPr txBox="1"/>
          <p:nvPr/>
        </p:nvSpPr>
        <p:spPr>
          <a:xfrm>
            <a:off x="316882" y="2089583"/>
            <a:ext cx="406741" cy="10044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51E4C1B-1469-45F7-BE32-0D6B62A4DBA0}"/>
              </a:ext>
            </a:extLst>
          </p:cNvPr>
          <p:cNvSpPr/>
          <p:nvPr/>
        </p:nvSpPr>
        <p:spPr>
          <a:xfrm>
            <a:off x="1841677" y="3549444"/>
            <a:ext cx="9980685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1E9935A5-04D1-5158-B9A8-34B133B88338}"/>
              </a:ext>
            </a:extLst>
          </p:cNvPr>
          <p:cNvSpPr/>
          <p:nvPr/>
        </p:nvSpPr>
        <p:spPr>
          <a:xfrm>
            <a:off x="3757604" y="3600932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071BE22-D363-8981-13F8-E91ECA8F19F1}"/>
              </a:ext>
            </a:extLst>
          </p:cNvPr>
          <p:cNvSpPr/>
          <p:nvPr/>
        </p:nvSpPr>
        <p:spPr>
          <a:xfrm>
            <a:off x="4299770" y="3820930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4473007D-2DC3-C496-1165-ED0A6B05CF59}"/>
              </a:ext>
            </a:extLst>
          </p:cNvPr>
          <p:cNvSpPr/>
          <p:nvPr/>
        </p:nvSpPr>
        <p:spPr>
          <a:xfrm>
            <a:off x="3753364" y="4033850"/>
            <a:ext cx="54979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F9557D83-3C1C-256C-5611-2FF8515C8B23}"/>
              </a:ext>
            </a:extLst>
          </p:cNvPr>
          <p:cNvSpPr/>
          <p:nvPr/>
        </p:nvSpPr>
        <p:spPr>
          <a:xfrm>
            <a:off x="5395120" y="4434144"/>
            <a:ext cx="1089021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28588AD-7174-E5E0-3346-DA67D530E87B}"/>
              </a:ext>
            </a:extLst>
          </p:cNvPr>
          <p:cNvSpPr/>
          <p:nvPr/>
        </p:nvSpPr>
        <p:spPr>
          <a:xfrm>
            <a:off x="5670282" y="4663110"/>
            <a:ext cx="26904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1D674775-79D7-CADA-01BE-5A71BAC858F2}"/>
              </a:ext>
            </a:extLst>
          </p:cNvPr>
          <p:cNvSpPr/>
          <p:nvPr/>
        </p:nvSpPr>
        <p:spPr>
          <a:xfrm>
            <a:off x="1846820" y="4976797"/>
            <a:ext cx="9980685" cy="146093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4D0E67B2-5EC0-DA0D-1FE5-FBB89921A5E8}"/>
              </a:ext>
            </a:extLst>
          </p:cNvPr>
          <p:cNvSpPr/>
          <p:nvPr/>
        </p:nvSpPr>
        <p:spPr>
          <a:xfrm>
            <a:off x="4156181" y="5048102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3844975C-E51A-DB97-02D5-07F60A86F5BA}"/>
              </a:ext>
            </a:extLst>
          </p:cNvPr>
          <p:cNvSpPr/>
          <p:nvPr/>
        </p:nvSpPr>
        <p:spPr>
          <a:xfrm>
            <a:off x="4703788" y="5249580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9F2C5F81-8CF8-39DE-7359-9EF843FAEB20}"/>
              </a:ext>
            </a:extLst>
          </p:cNvPr>
          <p:cNvSpPr/>
          <p:nvPr/>
        </p:nvSpPr>
        <p:spPr>
          <a:xfrm>
            <a:off x="4155420" y="5473988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387B0156-A5D5-21BE-15B4-AA99FB4AC66E}"/>
              </a:ext>
            </a:extLst>
          </p:cNvPr>
          <p:cNvSpPr/>
          <p:nvPr/>
        </p:nvSpPr>
        <p:spPr>
          <a:xfrm>
            <a:off x="6502429" y="5999725"/>
            <a:ext cx="556026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0B52040-384B-43F3-1B4A-465E653CC7F2}"/>
              </a:ext>
            </a:extLst>
          </p:cNvPr>
          <p:cNvSpPr/>
          <p:nvPr/>
        </p:nvSpPr>
        <p:spPr>
          <a:xfrm>
            <a:off x="5409938" y="5718772"/>
            <a:ext cx="1092491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par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29D50DDC-4903-67EF-37D1-7540206407C6}"/>
              </a:ext>
            </a:extLst>
          </p:cNvPr>
          <p:cNvSpPr/>
          <p:nvPr/>
        </p:nvSpPr>
        <p:spPr>
          <a:xfrm>
            <a:off x="4847042" y="4201056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8DB10E7E-286D-3017-3248-3BBCAABA0941}"/>
              </a:ext>
            </a:extLst>
          </p:cNvPr>
          <p:cNvSpPr/>
          <p:nvPr/>
        </p:nvSpPr>
        <p:spPr>
          <a:xfrm>
            <a:off x="6484957" y="4187920"/>
            <a:ext cx="554394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70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9089F08-FDD6-EF85-60BE-01064EB65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E775C7D7-E094-7C2A-6BA4-80ABD09713EC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DA8820BF-93DD-3173-6871-9D649110E6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078817"/>
              </p:ext>
            </p:extLst>
          </p:nvPr>
        </p:nvGraphicFramePr>
        <p:xfrm>
          <a:off x="1965364" y="758281"/>
          <a:ext cx="9856998" cy="5802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48152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2F049211-6085-194E-7EA1-1B88E802256C}"/>
              </a:ext>
            </a:extLst>
          </p:cNvPr>
          <p:cNvSpPr/>
          <p:nvPr/>
        </p:nvSpPr>
        <p:spPr>
          <a:xfrm>
            <a:off x="216977" y="4731650"/>
            <a:ext cx="1624701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C76A42BC-0C23-EA79-B45C-61DF694E8385}"/>
              </a:ext>
            </a:extLst>
          </p:cNvPr>
          <p:cNvSpPr/>
          <p:nvPr/>
        </p:nvSpPr>
        <p:spPr>
          <a:xfrm>
            <a:off x="747548" y="5073157"/>
            <a:ext cx="992898" cy="228130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A2801B4D-3048-4F15-5C52-E9C36C647C23}"/>
              </a:ext>
            </a:extLst>
          </p:cNvPr>
          <p:cNvSpPr txBox="1"/>
          <p:nvPr/>
        </p:nvSpPr>
        <p:spPr>
          <a:xfrm>
            <a:off x="316882" y="5073155"/>
            <a:ext cx="406741" cy="22813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4B220A46-2D30-5524-C878-E217D04CE7FF}"/>
              </a:ext>
            </a:extLst>
          </p:cNvPr>
          <p:cNvSpPr/>
          <p:nvPr/>
        </p:nvSpPr>
        <p:spPr>
          <a:xfrm>
            <a:off x="216977" y="5896673"/>
            <a:ext cx="162470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EC33F337-820E-99FA-2B4D-4C42E268885B}"/>
              </a:ext>
            </a:extLst>
          </p:cNvPr>
          <p:cNvSpPr/>
          <p:nvPr/>
        </p:nvSpPr>
        <p:spPr>
          <a:xfrm>
            <a:off x="755297" y="6001905"/>
            <a:ext cx="992898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9544685A-B655-B9DD-731D-0BA42A399581}"/>
              </a:ext>
            </a:extLst>
          </p:cNvPr>
          <p:cNvSpPr txBox="1"/>
          <p:nvPr/>
        </p:nvSpPr>
        <p:spPr>
          <a:xfrm>
            <a:off x="324631" y="6001905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02E36996-27E9-6611-320B-5CEDE4EEEEBC}"/>
              </a:ext>
            </a:extLst>
          </p:cNvPr>
          <p:cNvSpPr/>
          <p:nvPr/>
        </p:nvSpPr>
        <p:spPr>
          <a:xfrm>
            <a:off x="216977" y="3755425"/>
            <a:ext cx="1624702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6517EC39-F80A-BEB1-ED71-331D88F4BA06}"/>
              </a:ext>
            </a:extLst>
          </p:cNvPr>
          <p:cNvSpPr/>
          <p:nvPr/>
        </p:nvSpPr>
        <p:spPr>
          <a:xfrm>
            <a:off x="747548" y="3959293"/>
            <a:ext cx="992898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38F9C90F-60FE-8F5E-38DF-EA3A2362CBC4}"/>
              </a:ext>
            </a:extLst>
          </p:cNvPr>
          <p:cNvSpPr/>
          <p:nvPr/>
        </p:nvSpPr>
        <p:spPr>
          <a:xfrm>
            <a:off x="1841678" y="3755313"/>
            <a:ext cx="9980685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4998E15C-8C58-1A6C-A9A4-2010B532E39D}"/>
              </a:ext>
            </a:extLst>
          </p:cNvPr>
          <p:cNvSpPr/>
          <p:nvPr/>
        </p:nvSpPr>
        <p:spPr>
          <a:xfrm>
            <a:off x="1965365" y="3810280"/>
            <a:ext cx="109262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F4BEE263-6303-3018-8EE2-AF9F1DCB5EAE}"/>
              </a:ext>
            </a:extLst>
          </p:cNvPr>
          <p:cNvSpPr/>
          <p:nvPr/>
        </p:nvSpPr>
        <p:spPr>
          <a:xfrm>
            <a:off x="1965365" y="3925299"/>
            <a:ext cx="1092630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5553E310-CB2D-3546-7535-6FC14BEEEF74}"/>
              </a:ext>
            </a:extLst>
          </p:cNvPr>
          <p:cNvSpPr/>
          <p:nvPr/>
        </p:nvSpPr>
        <p:spPr>
          <a:xfrm>
            <a:off x="2511679" y="4040318"/>
            <a:ext cx="81727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7A6ABF3C-D918-1AF2-D7FA-D305578B73FA}"/>
              </a:ext>
            </a:extLst>
          </p:cNvPr>
          <p:cNvSpPr/>
          <p:nvPr/>
        </p:nvSpPr>
        <p:spPr>
          <a:xfrm>
            <a:off x="3328958" y="3815478"/>
            <a:ext cx="1365832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87CFE6ED-1F84-7039-43FD-89483480743A}"/>
              </a:ext>
            </a:extLst>
          </p:cNvPr>
          <p:cNvSpPr/>
          <p:nvPr/>
        </p:nvSpPr>
        <p:spPr>
          <a:xfrm>
            <a:off x="4706413" y="3939864"/>
            <a:ext cx="552484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596CBD7D-12EE-8C9F-C6F3-7DF7D5D6815F}"/>
              </a:ext>
            </a:extLst>
          </p:cNvPr>
          <p:cNvSpPr/>
          <p:nvPr/>
        </p:nvSpPr>
        <p:spPr>
          <a:xfrm>
            <a:off x="3328957" y="4262927"/>
            <a:ext cx="1377455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EAF2072-4320-2D12-7CC9-A5B41720D709}"/>
              </a:ext>
            </a:extLst>
          </p:cNvPr>
          <p:cNvSpPr txBox="1"/>
          <p:nvPr/>
        </p:nvSpPr>
        <p:spPr>
          <a:xfrm>
            <a:off x="316882" y="3959293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1548FD7D-7AFE-B003-437D-212C1638F479}"/>
              </a:ext>
            </a:extLst>
          </p:cNvPr>
          <p:cNvSpPr/>
          <p:nvPr/>
        </p:nvSpPr>
        <p:spPr>
          <a:xfrm>
            <a:off x="1841677" y="4731650"/>
            <a:ext cx="9980685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872C2E3B-F908-241E-B4A6-E765E6920F8C}"/>
              </a:ext>
            </a:extLst>
          </p:cNvPr>
          <p:cNvSpPr/>
          <p:nvPr/>
        </p:nvSpPr>
        <p:spPr>
          <a:xfrm>
            <a:off x="4158907" y="4768232"/>
            <a:ext cx="54750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A259156-6861-9745-BB31-451BA785DDCF}"/>
              </a:ext>
            </a:extLst>
          </p:cNvPr>
          <p:cNvSpPr/>
          <p:nvPr/>
        </p:nvSpPr>
        <p:spPr>
          <a:xfrm>
            <a:off x="4706414" y="4914825"/>
            <a:ext cx="5474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1B8DA9FE-2B9E-2E02-1ABD-83E8B1B97548}"/>
              </a:ext>
            </a:extLst>
          </p:cNvPr>
          <p:cNvSpPr/>
          <p:nvPr/>
        </p:nvSpPr>
        <p:spPr>
          <a:xfrm>
            <a:off x="6104701" y="5061709"/>
            <a:ext cx="23989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1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6BF00A7A-F2F8-3905-659C-139B18806B2D}"/>
              </a:ext>
            </a:extLst>
          </p:cNvPr>
          <p:cNvSpPr/>
          <p:nvPr/>
        </p:nvSpPr>
        <p:spPr>
          <a:xfrm>
            <a:off x="6344596" y="5171152"/>
            <a:ext cx="55466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Function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26D945B-2D7D-DFBF-C473-3AE6D8AF536B}"/>
              </a:ext>
            </a:extLst>
          </p:cNvPr>
          <p:cNvSpPr/>
          <p:nvPr/>
        </p:nvSpPr>
        <p:spPr>
          <a:xfrm>
            <a:off x="7681793" y="5631676"/>
            <a:ext cx="54192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399C1FBC-055E-0DC4-50A7-226D882D41BA}"/>
              </a:ext>
            </a:extLst>
          </p:cNvPr>
          <p:cNvSpPr/>
          <p:nvPr/>
        </p:nvSpPr>
        <p:spPr>
          <a:xfrm>
            <a:off x="4706413" y="5896674"/>
            <a:ext cx="712109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06EF5CE1-B148-9175-DE44-1858E7827D79}"/>
              </a:ext>
            </a:extLst>
          </p:cNvPr>
          <p:cNvSpPr/>
          <p:nvPr/>
        </p:nvSpPr>
        <p:spPr>
          <a:xfrm>
            <a:off x="4710104" y="5944297"/>
            <a:ext cx="54379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BEB95C7F-6313-EB99-6DB4-CA2B06A7145D}"/>
              </a:ext>
            </a:extLst>
          </p:cNvPr>
          <p:cNvSpPr/>
          <p:nvPr/>
        </p:nvSpPr>
        <p:spPr>
          <a:xfrm>
            <a:off x="7684534" y="6001905"/>
            <a:ext cx="54308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0CB02EF9-CF51-6089-3E83-CDA174869A16}"/>
              </a:ext>
            </a:extLst>
          </p:cNvPr>
          <p:cNvSpPr/>
          <p:nvPr/>
        </p:nvSpPr>
        <p:spPr>
          <a:xfrm>
            <a:off x="8223714" y="6130743"/>
            <a:ext cx="54305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47FC0C0A-5F1C-6B64-86A8-63F6B8777675}"/>
              </a:ext>
            </a:extLst>
          </p:cNvPr>
          <p:cNvSpPr/>
          <p:nvPr/>
        </p:nvSpPr>
        <p:spPr>
          <a:xfrm>
            <a:off x="8790537" y="6290812"/>
            <a:ext cx="284721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E18886CD-6F4A-094C-04B7-8231161DC879}"/>
              </a:ext>
            </a:extLst>
          </p:cNvPr>
          <p:cNvSpPr/>
          <p:nvPr/>
        </p:nvSpPr>
        <p:spPr>
          <a:xfrm>
            <a:off x="216975" y="1391080"/>
            <a:ext cx="1624702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DEC01149-FAF4-D9E8-C1B7-BC46DD0858D4}"/>
              </a:ext>
            </a:extLst>
          </p:cNvPr>
          <p:cNvSpPr/>
          <p:nvPr/>
        </p:nvSpPr>
        <p:spPr>
          <a:xfrm>
            <a:off x="747546" y="1473160"/>
            <a:ext cx="992898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379B963-B940-B834-56BA-1564E1A9DE7C}"/>
              </a:ext>
            </a:extLst>
          </p:cNvPr>
          <p:cNvSpPr txBox="1"/>
          <p:nvPr/>
        </p:nvSpPr>
        <p:spPr>
          <a:xfrm>
            <a:off x="316880" y="1473160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616ABDAE-F2A7-D90F-E692-D354D4D845DE}"/>
              </a:ext>
            </a:extLst>
          </p:cNvPr>
          <p:cNvSpPr/>
          <p:nvPr/>
        </p:nvSpPr>
        <p:spPr>
          <a:xfrm>
            <a:off x="216975" y="2219043"/>
            <a:ext cx="1624702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B94301C7-F559-7F8B-1312-B7BCCADAA325}"/>
              </a:ext>
            </a:extLst>
          </p:cNvPr>
          <p:cNvSpPr/>
          <p:nvPr/>
        </p:nvSpPr>
        <p:spPr>
          <a:xfrm>
            <a:off x="747546" y="2325348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9D3ED46-F893-14A3-12F4-5E2E114B412B}"/>
              </a:ext>
            </a:extLst>
          </p:cNvPr>
          <p:cNvSpPr txBox="1"/>
          <p:nvPr/>
        </p:nvSpPr>
        <p:spPr>
          <a:xfrm>
            <a:off x="316880" y="2325348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8751F479-FAB0-B41C-0AB9-BB0A351C6B0C}"/>
              </a:ext>
            </a:extLst>
          </p:cNvPr>
          <p:cNvSpPr/>
          <p:nvPr/>
        </p:nvSpPr>
        <p:spPr>
          <a:xfrm>
            <a:off x="217983" y="2734782"/>
            <a:ext cx="1624702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预定义流程 47">
            <a:extLst>
              <a:ext uri="{FF2B5EF4-FFF2-40B4-BE49-F238E27FC236}">
                <a16:creationId xmlns:a16="http://schemas.microsoft.com/office/drawing/2014/main" id="{5BF2A6FE-E8EE-20B8-BDD3-E6AC0D990211}"/>
              </a:ext>
            </a:extLst>
          </p:cNvPr>
          <p:cNvSpPr/>
          <p:nvPr/>
        </p:nvSpPr>
        <p:spPr>
          <a:xfrm>
            <a:off x="748554" y="2786587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EB14B76-57FC-41D0-3D54-02B051A7279B}"/>
              </a:ext>
            </a:extLst>
          </p:cNvPr>
          <p:cNvSpPr txBox="1"/>
          <p:nvPr/>
        </p:nvSpPr>
        <p:spPr>
          <a:xfrm>
            <a:off x="317888" y="278658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54CA3EA3-6459-3FB0-EECF-975AF5783123}"/>
              </a:ext>
            </a:extLst>
          </p:cNvPr>
          <p:cNvSpPr/>
          <p:nvPr/>
        </p:nvSpPr>
        <p:spPr>
          <a:xfrm>
            <a:off x="216975" y="3105106"/>
            <a:ext cx="1624702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43153C57-EC41-41BD-9D4D-4E03FDC6F259}"/>
              </a:ext>
            </a:extLst>
          </p:cNvPr>
          <p:cNvSpPr/>
          <p:nvPr/>
        </p:nvSpPr>
        <p:spPr>
          <a:xfrm>
            <a:off x="747546" y="3211411"/>
            <a:ext cx="992898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90AAF14A-7E22-2810-5C90-A5715BF708D0}"/>
              </a:ext>
            </a:extLst>
          </p:cNvPr>
          <p:cNvSpPr txBox="1"/>
          <p:nvPr/>
        </p:nvSpPr>
        <p:spPr>
          <a:xfrm>
            <a:off x="316880" y="321141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4BBA0DEB-59D5-9EE2-19DB-73C44A5CE757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 flipH="1">
            <a:off x="9075258" y="3353109"/>
            <a:ext cx="13362" cy="2986610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圆角矩形 8">
            <a:extLst>
              <a:ext uri="{FF2B5EF4-FFF2-40B4-BE49-F238E27FC236}">
                <a16:creationId xmlns:a16="http://schemas.microsoft.com/office/drawing/2014/main" id="{84C5E962-6E7E-2DD9-08C6-0B8F14419B51}"/>
              </a:ext>
            </a:extLst>
          </p:cNvPr>
          <p:cNvSpPr/>
          <p:nvPr/>
        </p:nvSpPr>
        <p:spPr>
          <a:xfrm>
            <a:off x="1965365" y="2322753"/>
            <a:ext cx="2748901" cy="229306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482F7ED2-A5AC-39AE-C130-A6D634A66331}"/>
              </a:ext>
            </a:extLst>
          </p:cNvPr>
          <p:cNvSpPr/>
          <p:nvPr/>
        </p:nvSpPr>
        <p:spPr>
          <a:xfrm>
            <a:off x="1964052" y="3304202"/>
            <a:ext cx="712456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9A49583F-DEB3-C9C6-3D75-35736F33490F}"/>
              </a:ext>
            </a:extLst>
          </p:cNvPr>
          <p:cNvSpPr/>
          <p:nvPr/>
        </p:nvSpPr>
        <p:spPr>
          <a:xfrm>
            <a:off x="1976194" y="1477627"/>
            <a:ext cx="3277691" cy="22825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B31D3419-38FD-0C72-DACB-14D0B8C259E4}"/>
              </a:ext>
            </a:extLst>
          </p:cNvPr>
          <p:cNvSpPr/>
          <p:nvPr/>
        </p:nvSpPr>
        <p:spPr>
          <a:xfrm>
            <a:off x="1959563" y="2854042"/>
            <a:ext cx="98569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BBDC90B4-D28D-A124-BFE7-7E439A99AACB}"/>
              </a:ext>
            </a:extLst>
          </p:cNvPr>
          <p:cNvSpPr/>
          <p:nvPr/>
        </p:nvSpPr>
        <p:spPr>
          <a:xfrm>
            <a:off x="6893357" y="5285554"/>
            <a:ext cx="25673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2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E4EB4C1C-4A3E-6CD8-8B65-F13CF1C2594A}"/>
              </a:ext>
            </a:extLst>
          </p:cNvPr>
          <p:cNvSpPr/>
          <p:nvPr/>
        </p:nvSpPr>
        <p:spPr>
          <a:xfrm>
            <a:off x="7143514" y="5398883"/>
            <a:ext cx="54192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D31748F2-77E3-25F2-DE2A-730DD74647CB}"/>
              </a:ext>
            </a:extLst>
          </p:cNvPr>
          <p:cNvSpPr/>
          <p:nvPr/>
        </p:nvSpPr>
        <p:spPr>
          <a:xfrm>
            <a:off x="7146249" y="5516013"/>
            <a:ext cx="28769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74057455-22CE-73A4-A54D-8816AC5DA220}"/>
              </a:ext>
            </a:extLst>
          </p:cNvPr>
          <p:cNvSpPr/>
          <p:nvPr/>
        </p:nvSpPr>
        <p:spPr>
          <a:xfrm>
            <a:off x="4701271" y="2325821"/>
            <a:ext cx="565480" cy="226237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709F4612-3A40-487E-0CE8-2C6A67B4FBD1}"/>
              </a:ext>
            </a:extLst>
          </p:cNvPr>
          <p:cNvSpPr txBox="1"/>
          <p:nvPr/>
        </p:nvSpPr>
        <p:spPr>
          <a:xfrm>
            <a:off x="5204849" y="1555686"/>
            <a:ext cx="760659" cy="328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use for New AKS TESTING2 </a:t>
            </a:r>
            <a:r>
              <a:rPr kumimoji="1" lang="en-US" altLang="zh-SG" sz="5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4D094A8D-C583-11B4-96C9-5EB7E46904EA}"/>
              </a:ext>
            </a:extLst>
          </p:cNvPr>
          <p:cNvSpPr/>
          <p:nvPr/>
        </p:nvSpPr>
        <p:spPr>
          <a:xfrm>
            <a:off x="5243408" y="4106194"/>
            <a:ext cx="85259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圆角矩形 226">
            <a:extLst>
              <a:ext uri="{FF2B5EF4-FFF2-40B4-BE49-F238E27FC236}">
                <a16:creationId xmlns:a16="http://schemas.microsoft.com/office/drawing/2014/main" id="{4863394B-0A02-28DF-A274-3093E6B57355}"/>
              </a:ext>
            </a:extLst>
          </p:cNvPr>
          <p:cNvSpPr/>
          <p:nvPr/>
        </p:nvSpPr>
        <p:spPr>
          <a:xfrm>
            <a:off x="6104703" y="1477046"/>
            <a:ext cx="2423237" cy="19034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圆角矩形 230">
            <a:extLst>
              <a:ext uri="{FF2B5EF4-FFF2-40B4-BE49-F238E27FC236}">
                <a16:creationId xmlns:a16="http://schemas.microsoft.com/office/drawing/2014/main" id="{72AE8B7C-5F71-6464-F758-F6E872D15E60}"/>
              </a:ext>
            </a:extLst>
          </p:cNvPr>
          <p:cNvSpPr/>
          <p:nvPr/>
        </p:nvSpPr>
        <p:spPr>
          <a:xfrm>
            <a:off x="5258509" y="2328958"/>
            <a:ext cx="846193" cy="226237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5" name="直线箭头连接符 254">
            <a:extLst>
              <a:ext uri="{FF2B5EF4-FFF2-40B4-BE49-F238E27FC236}">
                <a16:creationId xmlns:a16="http://schemas.microsoft.com/office/drawing/2014/main" id="{6A2C9DDC-F214-4B27-5728-96AAC4FE081F}"/>
              </a:ext>
            </a:extLst>
          </p:cNvPr>
          <p:cNvCxnSpPr>
            <a:cxnSpLocks/>
            <a:stCxn id="223" idx="3"/>
            <a:endCxn id="227" idx="1"/>
          </p:cNvCxnSpPr>
          <p:nvPr/>
        </p:nvCxnSpPr>
        <p:spPr>
          <a:xfrm flipV="1">
            <a:off x="6095999" y="1572220"/>
            <a:ext cx="8704" cy="2605392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3DC2674C-AED7-0B4D-1A70-31928AA5FBA1}"/>
              </a:ext>
            </a:extLst>
          </p:cNvPr>
          <p:cNvSpPr/>
          <p:nvPr/>
        </p:nvSpPr>
        <p:spPr>
          <a:xfrm>
            <a:off x="8527940" y="4106194"/>
            <a:ext cx="560680" cy="173634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2" name="直线箭头连接符 261">
            <a:extLst>
              <a:ext uri="{FF2B5EF4-FFF2-40B4-BE49-F238E27FC236}">
                <a16:creationId xmlns:a16="http://schemas.microsoft.com/office/drawing/2014/main" id="{3599F066-D61B-5E4D-C546-E59C3837D472}"/>
              </a:ext>
            </a:extLst>
          </p:cNvPr>
          <p:cNvCxnSpPr>
            <a:cxnSpLocks/>
            <a:stCxn id="227" idx="3"/>
            <a:endCxn id="265" idx="1"/>
          </p:cNvCxnSpPr>
          <p:nvPr/>
        </p:nvCxnSpPr>
        <p:spPr>
          <a:xfrm>
            <a:off x="8527940" y="1572220"/>
            <a:ext cx="0" cy="2620791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7C28E9CB-97EB-051B-8EB3-A339B0FB6E81}"/>
              </a:ext>
            </a:extLst>
          </p:cNvPr>
          <p:cNvCxnSpPr>
            <a:cxnSpLocks/>
            <a:endCxn id="223" idx="1"/>
          </p:cNvCxnSpPr>
          <p:nvPr/>
        </p:nvCxnSpPr>
        <p:spPr>
          <a:xfrm flipH="1">
            <a:off x="5243408" y="1554715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肘形连接符 270">
            <a:extLst>
              <a:ext uri="{FF2B5EF4-FFF2-40B4-BE49-F238E27FC236}">
                <a16:creationId xmlns:a16="http://schemas.microsoft.com/office/drawing/2014/main" id="{024CBF0A-52EE-EA73-FA48-2FECA7719A66}"/>
              </a:ext>
            </a:extLst>
          </p:cNvPr>
          <p:cNvCxnSpPr>
            <a:cxnSpLocks/>
            <a:stCxn id="231" idx="3"/>
            <a:endCxn id="26" idx="0"/>
          </p:cNvCxnSpPr>
          <p:nvPr/>
        </p:nvCxnSpPr>
        <p:spPr>
          <a:xfrm>
            <a:off x="6104702" y="2442077"/>
            <a:ext cx="119947" cy="2619632"/>
          </a:xfrm>
          <a:prstGeom prst="bentConnector2">
            <a:avLst/>
          </a:prstGeom>
          <a:ln w="127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文本框 266">
            <a:extLst>
              <a:ext uri="{FF2B5EF4-FFF2-40B4-BE49-F238E27FC236}">
                <a16:creationId xmlns:a16="http://schemas.microsoft.com/office/drawing/2014/main" id="{C19A431C-5439-67A9-3650-8D51C934ED0E}"/>
              </a:ext>
            </a:extLst>
          </p:cNvPr>
          <p:cNvSpPr txBox="1"/>
          <p:nvPr/>
        </p:nvSpPr>
        <p:spPr>
          <a:xfrm>
            <a:off x="6058384" y="3906020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point back to TESTING Azure for BAU Testing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文本框 273">
            <a:extLst>
              <a:ext uri="{FF2B5EF4-FFF2-40B4-BE49-F238E27FC236}">
                <a16:creationId xmlns:a16="http://schemas.microsoft.com/office/drawing/2014/main" id="{0D1E7209-B414-E495-6979-2D58E1A86C5A}"/>
              </a:ext>
            </a:extLst>
          </p:cNvPr>
          <p:cNvSpPr txBox="1"/>
          <p:nvPr/>
        </p:nvSpPr>
        <p:spPr>
          <a:xfrm>
            <a:off x="6194833" y="2458967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 AWS need use for New AKS Non-Prod Dry-run Testing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CB172E0B-B290-EE5B-A163-F1B35BB465DF}"/>
              </a:ext>
            </a:extLst>
          </p:cNvPr>
          <p:cNvSpPr txBox="1"/>
          <p:nvPr/>
        </p:nvSpPr>
        <p:spPr>
          <a:xfrm>
            <a:off x="9059917" y="3239598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516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61AFD6A-1C21-E896-012A-23A4BA8EC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6B844720-C643-53D5-7832-D0DBCEE98E6A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CEC6EC20-E2C4-21AE-3D0F-72BBDF004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469122"/>
              </p:ext>
            </p:extLst>
          </p:nvPr>
        </p:nvGraphicFramePr>
        <p:xfrm>
          <a:off x="1965364" y="758281"/>
          <a:ext cx="9856998" cy="5802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48152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3A0D32C0-3B10-2803-399E-F2276C98D482}"/>
              </a:ext>
            </a:extLst>
          </p:cNvPr>
          <p:cNvSpPr/>
          <p:nvPr/>
        </p:nvSpPr>
        <p:spPr>
          <a:xfrm>
            <a:off x="216977" y="4731650"/>
            <a:ext cx="1624701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D9B8DE68-5A6F-8285-8B95-EBECAAC7C9B7}"/>
              </a:ext>
            </a:extLst>
          </p:cNvPr>
          <p:cNvSpPr/>
          <p:nvPr/>
        </p:nvSpPr>
        <p:spPr>
          <a:xfrm>
            <a:off x="747548" y="5073157"/>
            <a:ext cx="992898" cy="228130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7FA7DA39-F354-3BA4-478E-EA99DA17CB30}"/>
              </a:ext>
            </a:extLst>
          </p:cNvPr>
          <p:cNvSpPr txBox="1"/>
          <p:nvPr/>
        </p:nvSpPr>
        <p:spPr>
          <a:xfrm>
            <a:off x="316882" y="5073155"/>
            <a:ext cx="406741" cy="22813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3A928566-F9EF-AC95-FFA1-7266F3D77C90}"/>
              </a:ext>
            </a:extLst>
          </p:cNvPr>
          <p:cNvSpPr/>
          <p:nvPr/>
        </p:nvSpPr>
        <p:spPr>
          <a:xfrm>
            <a:off x="216977" y="5896673"/>
            <a:ext cx="162470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D33B78BB-FCDA-01BC-88B6-3CAEE2584FC0}"/>
              </a:ext>
            </a:extLst>
          </p:cNvPr>
          <p:cNvSpPr/>
          <p:nvPr/>
        </p:nvSpPr>
        <p:spPr>
          <a:xfrm>
            <a:off x="755297" y="6001905"/>
            <a:ext cx="992898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957DEA94-9029-F05A-3C48-7A5F37D7683E}"/>
              </a:ext>
            </a:extLst>
          </p:cNvPr>
          <p:cNvSpPr txBox="1"/>
          <p:nvPr/>
        </p:nvSpPr>
        <p:spPr>
          <a:xfrm>
            <a:off x="324631" y="6001905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661860DD-35BD-9FC8-450B-66EABDBADB00}"/>
              </a:ext>
            </a:extLst>
          </p:cNvPr>
          <p:cNvSpPr/>
          <p:nvPr/>
        </p:nvSpPr>
        <p:spPr>
          <a:xfrm>
            <a:off x="216977" y="3755425"/>
            <a:ext cx="1624702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AF6F5FBB-09DE-B18D-B7A1-A13383852F1B}"/>
              </a:ext>
            </a:extLst>
          </p:cNvPr>
          <p:cNvSpPr/>
          <p:nvPr/>
        </p:nvSpPr>
        <p:spPr>
          <a:xfrm>
            <a:off x="747548" y="3959293"/>
            <a:ext cx="992898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26F1514C-44E5-7ACB-3430-8BF5C3607869}"/>
              </a:ext>
            </a:extLst>
          </p:cNvPr>
          <p:cNvSpPr/>
          <p:nvPr/>
        </p:nvSpPr>
        <p:spPr>
          <a:xfrm>
            <a:off x="1841678" y="3755313"/>
            <a:ext cx="9980685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CEC0C2DD-3A0E-C46A-E8B1-7FDE444F7FD3}"/>
              </a:ext>
            </a:extLst>
          </p:cNvPr>
          <p:cNvSpPr/>
          <p:nvPr/>
        </p:nvSpPr>
        <p:spPr>
          <a:xfrm>
            <a:off x="1965365" y="3810280"/>
            <a:ext cx="109262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DB30237B-9645-A96B-B13C-BCFB95B79075}"/>
              </a:ext>
            </a:extLst>
          </p:cNvPr>
          <p:cNvSpPr/>
          <p:nvPr/>
        </p:nvSpPr>
        <p:spPr>
          <a:xfrm>
            <a:off x="1965365" y="3925299"/>
            <a:ext cx="1092630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53D36D48-989B-6CD2-DF69-9A32D0DADF4F}"/>
              </a:ext>
            </a:extLst>
          </p:cNvPr>
          <p:cNvSpPr/>
          <p:nvPr/>
        </p:nvSpPr>
        <p:spPr>
          <a:xfrm>
            <a:off x="2511679" y="4040318"/>
            <a:ext cx="81727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CC38FC44-CF09-9732-2EBD-D64CF0960498}"/>
              </a:ext>
            </a:extLst>
          </p:cNvPr>
          <p:cNvSpPr/>
          <p:nvPr/>
        </p:nvSpPr>
        <p:spPr>
          <a:xfrm>
            <a:off x="3328958" y="3815478"/>
            <a:ext cx="1365832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A1DE6BA4-0983-5278-0202-169DB3EF37ED}"/>
              </a:ext>
            </a:extLst>
          </p:cNvPr>
          <p:cNvSpPr/>
          <p:nvPr/>
        </p:nvSpPr>
        <p:spPr>
          <a:xfrm>
            <a:off x="4706413" y="3939864"/>
            <a:ext cx="552484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D01AB461-1F5D-0A0B-888D-09FFD65415BE}"/>
              </a:ext>
            </a:extLst>
          </p:cNvPr>
          <p:cNvSpPr/>
          <p:nvPr/>
        </p:nvSpPr>
        <p:spPr>
          <a:xfrm>
            <a:off x="3328957" y="4262927"/>
            <a:ext cx="1377455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D11C9E9-7365-F987-5B07-663FF3806398}"/>
              </a:ext>
            </a:extLst>
          </p:cNvPr>
          <p:cNvSpPr txBox="1"/>
          <p:nvPr/>
        </p:nvSpPr>
        <p:spPr>
          <a:xfrm>
            <a:off x="316882" y="3959293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FBC1115D-452B-5546-32A5-3BBF8384F633}"/>
              </a:ext>
            </a:extLst>
          </p:cNvPr>
          <p:cNvSpPr/>
          <p:nvPr/>
        </p:nvSpPr>
        <p:spPr>
          <a:xfrm>
            <a:off x="1841677" y="4731650"/>
            <a:ext cx="9980685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D5B55572-8279-051D-02FE-3772D76DA7D3}"/>
              </a:ext>
            </a:extLst>
          </p:cNvPr>
          <p:cNvSpPr/>
          <p:nvPr/>
        </p:nvSpPr>
        <p:spPr>
          <a:xfrm>
            <a:off x="4158907" y="4768232"/>
            <a:ext cx="54750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4E6B6232-67CE-C0DE-3744-4C41DE3B1AA8}"/>
              </a:ext>
            </a:extLst>
          </p:cNvPr>
          <p:cNvSpPr/>
          <p:nvPr/>
        </p:nvSpPr>
        <p:spPr>
          <a:xfrm>
            <a:off x="4706414" y="4914825"/>
            <a:ext cx="5474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556732F1-0978-51CE-34C6-16DDEDB45472}"/>
              </a:ext>
            </a:extLst>
          </p:cNvPr>
          <p:cNvSpPr/>
          <p:nvPr/>
        </p:nvSpPr>
        <p:spPr>
          <a:xfrm>
            <a:off x="6104701" y="5061709"/>
            <a:ext cx="11380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1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C618CA2F-88DA-CAFA-3B7C-DD5C65FDFB8A}"/>
              </a:ext>
            </a:extLst>
          </p:cNvPr>
          <p:cNvSpPr/>
          <p:nvPr/>
        </p:nvSpPr>
        <p:spPr>
          <a:xfrm>
            <a:off x="6218502" y="5172770"/>
            <a:ext cx="2172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Function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B328E544-040A-F695-617D-45D348B4EC4E}"/>
              </a:ext>
            </a:extLst>
          </p:cNvPr>
          <p:cNvSpPr/>
          <p:nvPr/>
        </p:nvSpPr>
        <p:spPr>
          <a:xfrm>
            <a:off x="6893617" y="5644537"/>
            <a:ext cx="54192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EB2BA3EF-7D16-C834-17E0-84AFB08E5A9E}"/>
              </a:ext>
            </a:extLst>
          </p:cNvPr>
          <p:cNvSpPr/>
          <p:nvPr/>
        </p:nvSpPr>
        <p:spPr>
          <a:xfrm>
            <a:off x="4706413" y="5896674"/>
            <a:ext cx="712109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5A8591BE-0D60-1AA0-F415-AD4DEB9E3C77}"/>
              </a:ext>
            </a:extLst>
          </p:cNvPr>
          <p:cNvSpPr/>
          <p:nvPr/>
        </p:nvSpPr>
        <p:spPr>
          <a:xfrm>
            <a:off x="4710104" y="5944297"/>
            <a:ext cx="54379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66548A19-2187-9EB8-A1A7-BC12459A2B9D}"/>
              </a:ext>
            </a:extLst>
          </p:cNvPr>
          <p:cNvSpPr/>
          <p:nvPr/>
        </p:nvSpPr>
        <p:spPr>
          <a:xfrm>
            <a:off x="6898155" y="5942277"/>
            <a:ext cx="12745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F50A31F4-560A-45AC-B479-45F52C8629F6}"/>
              </a:ext>
            </a:extLst>
          </p:cNvPr>
          <p:cNvSpPr/>
          <p:nvPr/>
        </p:nvSpPr>
        <p:spPr>
          <a:xfrm>
            <a:off x="7025613" y="6050812"/>
            <a:ext cx="40992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F5371065-60D1-BFD1-05BA-95DCE815B5D2}"/>
              </a:ext>
            </a:extLst>
          </p:cNvPr>
          <p:cNvSpPr/>
          <p:nvPr/>
        </p:nvSpPr>
        <p:spPr>
          <a:xfrm>
            <a:off x="7435538" y="6173776"/>
            <a:ext cx="284721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CFDB320D-73D0-4D22-233E-70C1825EA8BF}"/>
              </a:ext>
            </a:extLst>
          </p:cNvPr>
          <p:cNvSpPr/>
          <p:nvPr/>
        </p:nvSpPr>
        <p:spPr>
          <a:xfrm>
            <a:off x="216975" y="1391080"/>
            <a:ext cx="1624702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37239495-A612-3861-C5DE-3C80A8E3A95C}"/>
              </a:ext>
            </a:extLst>
          </p:cNvPr>
          <p:cNvSpPr/>
          <p:nvPr/>
        </p:nvSpPr>
        <p:spPr>
          <a:xfrm>
            <a:off x="747546" y="1473160"/>
            <a:ext cx="992898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85EB30B-ED37-088A-1D42-B46DB700382D}"/>
              </a:ext>
            </a:extLst>
          </p:cNvPr>
          <p:cNvSpPr txBox="1"/>
          <p:nvPr/>
        </p:nvSpPr>
        <p:spPr>
          <a:xfrm>
            <a:off x="316880" y="1473160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7487F27-E765-7597-DCE9-280B82D2F12A}"/>
              </a:ext>
            </a:extLst>
          </p:cNvPr>
          <p:cNvSpPr/>
          <p:nvPr/>
        </p:nvSpPr>
        <p:spPr>
          <a:xfrm>
            <a:off x="216975" y="2219043"/>
            <a:ext cx="1624702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F6C839D3-62BB-AE44-B89D-B3C971C33C05}"/>
              </a:ext>
            </a:extLst>
          </p:cNvPr>
          <p:cNvSpPr/>
          <p:nvPr/>
        </p:nvSpPr>
        <p:spPr>
          <a:xfrm>
            <a:off x="747546" y="2325348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620F576-1085-6376-DD00-141AD5B8EA9D}"/>
              </a:ext>
            </a:extLst>
          </p:cNvPr>
          <p:cNvSpPr txBox="1"/>
          <p:nvPr/>
        </p:nvSpPr>
        <p:spPr>
          <a:xfrm>
            <a:off x="316880" y="2325348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9BDB6CF4-C0A0-08F0-3905-D550B3B4A95B}"/>
              </a:ext>
            </a:extLst>
          </p:cNvPr>
          <p:cNvSpPr/>
          <p:nvPr/>
        </p:nvSpPr>
        <p:spPr>
          <a:xfrm>
            <a:off x="217983" y="2734782"/>
            <a:ext cx="1624702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预定义流程 47">
            <a:extLst>
              <a:ext uri="{FF2B5EF4-FFF2-40B4-BE49-F238E27FC236}">
                <a16:creationId xmlns:a16="http://schemas.microsoft.com/office/drawing/2014/main" id="{7B77CB82-EAAB-2C9E-6DDF-C877AFF7832B}"/>
              </a:ext>
            </a:extLst>
          </p:cNvPr>
          <p:cNvSpPr/>
          <p:nvPr/>
        </p:nvSpPr>
        <p:spPr>
          <a:xfrm>
            <a:off x="748554" y="2786587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C346ECB3-B778-F89F-4436-C0D5837CBF1B}"/>
              </a:ext>
            </a:extLst>
          </p:cNvPr>
          <p:cNvSpPr txBox="1"/>
          <p:nvPr/>
        </p:nvSpPr>
        <p:spPr>
          <a:xfrm>
            <a:off x="317888" y="278658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3E2EFF29-A200-D8F6-8064-486EBAC6D869}"/>
              </a:ext>
            </a:extLst>
          </p:cNvPr>
          <p:cNvSpPr/>
          <p:nvPr/>
        </p:nvSpPr>
        <p:spPr>
          <a:xfrm>
            <a:off x="216975" y="3105106"/>
            <a:ext cx="1624702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333A3BCF-A06F-E750-4764-15A7400634EF}"/>
              </a:ext>
            </a:extLst>
          </p:cNvPr>
          <p:cNvSpPr/>
          <p:nvPr/>
        </p:nvSpPr>
        <p:spPr>
          <a:xfrm>
            <a:off x="747546" y="3211411"/>
            <a:ext cx="992898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3C201D5-CCA9-FA60-5964-AFCEC1BCA20C}"/>
              </a:ext>
            </a:extLst>
          </p:cNvPr>
          <p:cNvSpPr txBox="1"/>
          <p:nvPr/>
        </p:nvSpPr>
        <p:spPr>
          <a:xfrm>
            <a:off x="316880" y="321141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38EEED38-781A-81C8-1771-C8FF0F5B71D3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7720258" y="3353109"/>
            <a:ext cx="1" cy="2869574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圆角矩形 8">
            <a:extLst>
              <a:ext uri="{FF2B5EF4-FFF2-40B4-BE49-F238E27FC236}">
                <a16:creationId xmlns:a16="http://schemas.microsoft.com/office/drawing/2014/main" id="{85B743FE-0DEA-9C3F-C88A-8859B724A35A}"/>
              </a:ext>
            </a:extLst>
          </p:cNvPr>
          <p:cNvSpPr/>
          <p:nvPr/>
        </p:nvSpPr>
        <p:spPr>
          <a:xfrm>
            <a:off x="1965365" y="2322753"/>
            <a:ext cx="4139336" cy="229306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34965F74-ADE0-53EB-8CDD-3CF02037C101}"/>
              </a:ext>
            </a:extLst>
          </p:cNvPr>
          <p:cNvSpPr/>
          <p:nvPr/>
        </p:nvSpPr>
        <p:spPr>
          <a:xfrm>
            <a:off x="1964052" y="3304202"/>
            <a:ext cx="575620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A7986C6E-0481-7AA7-701A-B76BCCCE22F4}"/>
              </a:ext>
            </a:extLst>
          </p:cNvPr>
          <p:cNvSpPr/>
          <p:nvPr/>
        </p:nvSpPr>
        <p:spPr>
          <a:xfrm>
            <a:off x="1976194" y="1477627"/>
            <a:ext cx="3277691" cy="22825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BDD1F2BD-B9C8-9BDA-BB4E-B9A48738A108}"/>
              </a:ext>
            </a:extLst>
          </p:cNvPr>
          <p:cNvSpPr/>
          <p:nvPr/>
        </p:nvSpPr>
        <p:spPr>
          <a:xfrm>
            <a:off x="1959563" y="2854042"/>
            <a:ext cx="547597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D22FDF95-9C0B-75EE-1F5F-CBE7F2EAD780}"/>
              </a:ext>
            </a:extLst>
          </p:cNvPr>
          <p:cNvSpPr/>
          <p:nvPr/>
        </p:nvSpPr>
        <p:spPr>
          <a:xfrm>
            <a:off x="6435725" y="5293085"/>
            <a:ext cx="15875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2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C79529B2-1B0F-84A9-5DD1-7403ED311A4A}"/>
              </a:ext>
            </a:extLst>
          </p:cNvPr>
          <p:cNvSpPr/>
          <p:nvPr/>
        </p:nvSpPr>
        <p:spPr>
          <a:xfrm>
            <a:off x="6594475" y="5414783"/>
            <a:ext cx="28769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E68030A0-FD75-C2AB-2E33-709039C1152D}"/>
              </a:ext>
            </a:extLst>
          </p:cNvPr>
          <p:cNvSpPr/>
          <p:nvPr/>
        </p:nvSpPr>
        <p:spPr>
          <a:xfrm>
            <a:off x="6832019" y="5525844"/>
            <a:ext cx="7294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E9255C72-4C24-032D-F7A2-92941A658426}"/>
              </a:ext>
            </a:extLst>
          </p:cNvPr>
          <p:cNvSpPr txBox="1"/>
          <p:nvPr/>
        </p:nvSpPr>
        <p:spPr>
          <a:xfrm>
            <a:off x="5204849" y="1555686"/>
            <a:ext cx="760659" cy="328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use for New AKS TESTING2 </a:t>
            </a:r>
            <a:r>
              <a:rPr kumimoji="1" lang="en-US" altLang="zh-SG" sz="5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5776E062-50CF-FAE3-7CEB-DB7046F4EDAE}"/>
              </a:ext>
            </a:extLst>
          </p:cNvPr>
          <p:cNvSpPr/>
          <p:nvPr/>
        </p:nvSpPr>
        <p:spPr>
          <a:xfrm>
            <a:off x="5243408" y="4106194"/>
            <a:ext cx="85259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圆角矩形 226">
            <a:extLst>
              <a:ext uri="{FF2B5EF4-FFF2-40B4-BE49-F238E27FC236}">
                <a16:creationId xmlns:a16="http://schemas.microsoft.com/office/drawing/2014/main" id="{493EC1C9-BA29-A476-833F-7C9AEE3FAB0D}"/>
              </a:ext>
            </a:extLst>
          </p:cNvPr>
          <p:cNvSpPr/>
          <p:nvPr/>
        </p:nvSpPr>
        <p:spPr>
          <a:xfrm>
            <a:off x="6104704" y="1477046"/>
            <a:ext cx="1403300" cy="19034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5" name="直线箭头连接符 254">
            <a:extLst>
              <a:ext uri="{FF2B5EF4-FFF2-40B4-BE49-F238E27FC236}">
                <a16:creationId xmlns:a16="http://schemas.microsoft.com/office/drawing/2014/main" id="{E7C19571-4A48-3850-6A0F-389300FD9C38}"/>
              </a:ext>
            </a:extLst>
          </p:cNvPr>
          <p:cNvCxnSpPr>
            <a:cxnSpLocks/>
            <a:stCxn id="223" idx="3"/>
            <a:endCxn id="227" idx="1"/>
          </p:cNvCxnSpPr>
          <p:nvPr/>
        </p:nvCxnSpPr>
        <p:spPr>
          <a:xfrm flipV="1">
            <a:off x="6095999" y="1572220"/>
            <a:ext cx="8705" cy="2605392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6CF5340F-48E6-7DD0-AC86-280A3C38BF7B}"/>
              </a:ext>
            </a:extLst>
          </p:cNvPr>
          <p:cNvSpPr/>
          <p:nvPr/>
        </p:nvSpPr>
        <p:spPr>
          <a:xfrm>
            <a:off x="7505110" y="4817138"/>
            <a:ext cx="4230616" cy="173634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2" name="直线箭头连接符 261">
            <a:extLst>
              <a:ext uri="{FF2B5EF4-FFF2-40B4-BE49-F238E27FC236}">
                <a16:creationId xmlns:a16="http://schemas.microsoft.com/office/drawing/2014/main" id="{E823A5DD-4C93-FE27-9C96-6A803F3078A1}"/>
              </a:ext>
            </a:extLst>
          </p:cNvPr>
          <p:cNvCxnSpPr>
            <a:cxnSpLocks/>
            <a:stCxn id="227" idx="3"/>
            <a:endCxn id="265" idx="1"/>
          </p:cNvCxnSpPr>
          <p:nvPr/>
        </p:nvCxnSpPr>
        <p:spPr>
          <a:xfrm flipH="1">
            <a:off x="7505110" y="1572220"/>
            <a:ext cx="2894" cy="3331735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1140339A-5CCF-0793-F0FF-F29B88050AE8}"/>
              </a:ext>
            </a:extLst>
          </p:cNvPr>
          <p:cNvCxnSpPr>
            <a:cxnSpLocks/>
            <a:endCxn id="223" idx="1"/>
          </p:cNvCxnSpPr>
          <p:nvPr/>
        </p:nvCxnSpPr>
        <p:spPr>
          <a:xfrm flipH="1">
            <a:off x="5243408" y="1554715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肘形连接符 270">
            <a:extLst>
              <a:ext uri="{FF2B5EF4-FFF2-40B4-BE49-F238E27FC236}">
                <a16:creationId xmlns:a16="http://schemas.microsoft.com/office/drawing/2014/main" id="{DDEB5D10-3C53-C9CD-4B81-A86413434559}"/>
              </a:ext>
            </a:extLst>
          </p:cNvPr>
          <p:cNvCxnSpPr>
            <a:cxnSpLocks/>
            <a:stCxn id="9" idx="3"/>
            <a:endCxn id="26" idx="0"/>
          </p:cNvCxnSpPr>
          <p:nvPr/>
        </p:nvCxnSpPr>
        <p:spPr>
          <a:xfrm>
            <a:off x="6104701" y="2437406"/>
            <a:ext cx="56901" cy="2624303"/>
          </a:xfrm>
          <a:prstGeom prst="bentConnector2">
            <a:avLst/>
          </a:prstGeom>
          <a:ln w="127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文本框 266">
            <a:extLst>
              <a:ext uri="{FF2B5EF4-FFF2-40B4-BE49-F238E27FC236}">
                <a16:creationId xmlns:a16="http://schemas.microsoft.com/office/drawing/2014/main" id="{027E4243-6DFF-DAAA-086B-7CF3C994564C}"/>
              </a:ext>
            </a:extLst>
          </p:cNvPr>
          <p:cNvSpPr txBox="1"/>
          <p:nvPr/>
        </p:nvSpPr>
        <p:spPr>
          <a:xfrm>
            <a:off x="6058384" y="3906020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point back to TESTING Azure for BAU Testing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文本框 273">
            <a:extLst>
              <a:ext uri="{FF2B5EF4-FFF2-40B4-BE49-F238E27FC236}">
                <a16:creationId xmlns:a16="http://schemas.microsoft.com/office/drawing/2014/main" id="{7BD70902-B5DE-D939-081C-618434F63D9C}"/>
              </a:ext>
            </a:extLst>
          </p:cNvPr>
          <p:cNvSpPr txBox="1"/>
          <p:nvPr/>
        </p:nvSpPr>
        <p:spPr>
          <a:xfrm>
            <a:off x="6194833" y="2458967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 AWS need use for New AKS Non-Prod Dry-run Testing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A975F97E-6D51-B342-CC5B-B41EB0DA106F}"/>
              </a:ext>
            </a:extLst>
          </p:cNvPr>
          <p:cNvSpPr txBox="1"/>
          <p:nvPr/>
        </p:nvSpPr>
        <p:spPr>
          <a:xfrm>
            <a:off x="7695740" y="3267378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38C71CB9-20D1-E9F2-70E5-32FE106E0AC8}"/>
              </a:ext>
            </a:extLst>
          </p:cNvPr>
          <p:cNvSpPr/>
          <p:nvPr/>
        </p:nvSpPr>
        <p:spPr>
          <a:xfrm>
            <a:off x="7435539" y="2852075"/>
            <a:ext cx="439552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直线箭头连接符 2">
            <a:extLst>
              <a:ext uri="{FF2B5EF4-FFF2-40B4-BE49-F238E27FC236}">
                <a16:creationId xmlns:a16="http://schemas.microsoft.com/office/drawing/2014/main" id="{D4AEFBAF-BEB0-CD28-2C1F-738587B2E077}"/>
              </a:ext>
            </a:extLst>
          </p:cNvPr>
          <p:cNvCxnSpPr>
            <a:cxnSpLocks/>
          </p:cNvCxnSpPr>
          <p:nvPr/>
        </p:nvCxnSpPr>
        <p:spPr>
          <a:xfrm flipH="1">
            <a:off x="5802276" y="1547628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9793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4D46688-D7E6-EB7D-9D02-7B04FA90E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0A22DE4C-012B-0274-A19C-095B08B0826E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954CAD4-0D82-A8C4-13A5-15CF5F7B3C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466893"/>
              </p:ext>
            </p:extLst>
          </p:nvPr>
        </p:nvGraphicFramePr>
        <p:xfrm>
          <a:off x="1640114" y="758281"/>
          <a:ext cx="10299114" cy="5759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17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87809186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8568929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3219548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7561708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555038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3724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66848405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32471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39836284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3383021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159591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52924632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5788146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5979791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968617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4373511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5064502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83972263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01034902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7558539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646957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6635692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9871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89559647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3648896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9089331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0568119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1380555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5734977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2090499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11286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25671246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77607767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141429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221895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668621133"/>
                    </a:ext>
                  </a:extLst>
                </a:gridCol>
              </a:tblGrid>
              <a:tr h="0"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gridSpan="1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B7712EC1-1EAF-CA58-23C5-5B4907B38AC5}"/>
              </a:ext>
            </a:extLst>
          </p:cNvPr>
          <p:cNvSpPr/>
          <p:nvPr/>
        </p:nvSpPr>
        <p:spPr>
          <a:xfrm>
            <a:off x="216977" y="4073758"/>
            <a:ext cx="1360243" cy="1040713"/>
          </a:xfrm>
          <a:prstGeom prst="roundRect">
            <a:avLst>
              <a:gd name="adj" fmla="val 1941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80A94F30-60B7-6E35-BD6F-2176F449221A}"/>
              </a:ext>
            </a:extLst>
          </p:cNvPr>
          <p:cNvSpPr/>
          <p:nvPr/>
        </p:nvSpPr>
        <p:spPr>
          <a:xfrm>
            <a:off x="747548" y="4393513"/>
            <a:ext cx="731669" cy="359423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46ACE846-CBA7-50F9-6A36-ACEE44C2386A}"/>
              </a:ext>
            </a:extLst>
          </p:cNvPr>
          <p:cNvSpPr txBox="1"/>
          <p:nvPr/>
        </p:nvSpPr>
        <p:spPr>
          <a:xfrm>
            <a:off x="316882" y="4393510"/>
            <a:ext cx="406741" cy="359425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14C02F82-6018-FD5A-BE16-C624F9E79F01}"/>
              </a:ext>
            </a:extLst>
          </p:cNvPr>
          <p:cNvSpPr/>
          <p:nvPr/>
        </p:nvSpPr>
        <p:spPr>
          <a:xfrm>
            <a:off x="216977" y="5838485"/>
            <a:ext cx="1360244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1BB36268-A63A-4D78-6AFC-AC6059EDBF3F}"/>
              </a:ext>
            </a:extLst>
          </p:cNvPr>
          <p:cNvSpPr/>
          <p:nvPr/>
        </p:nvSpPr>
        <p:spPr>
          <a:xfrm>
            <a:off x="755297" y="5943717"/>
            <a:ext cx="731669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0E30B79E-9CD5-4060-057F-ECDF8A820983}"/>
              </a:ext>
            </a:extLst>
          </p:cNvPr>
          <p:cNvSpPr txBox="1"/>
          <p:nvPr/>
        </p:nvSpPr>
        <p:spPr>
          <a:xfrm>
            <a:off x="324631" y="5943717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2CB0C4AE-79BB-36E0-8FCA-EA2F7CE7D542}"/>
              </a:ext>
            </a:extLst>
          </p:cNvPr>
          <p:cNvSpPr/>
          <p:nvPr/>
        </p:nvSpPr>
        <p:spPr>
          <a:xfrm>
            <a:off x="216155" y="2001569"/>
            <a:ext cx="1360244" cy="953704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D00C9261-7CBB-A4EE-240E-E7687D1CB570}"/>
              </a:ext>
            </a:extLst>
          </p:cNvPr>
          <p:cNvSpPr/>
          <p:nvPr/>
        </p:nvSpPr>
        <p:spPr>
          <a:xfrm>
            <a:off x="746726" y="2205437"/>
            <a:ext cx="731669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6D813C21-D500-92CB-708D-DFE28F156DD7}"/>
              </a:ext>
            </a:extLst>
          </p:cNvPr>
          <p:cNvSpPr/>
          <p:nvPr/>
        </p:nvSpPr>
        <p:spPr>
          <a:xfrm>
            <a:off x="1576397" y="2001456"/>
            <a:ext cx="10360801" cy="953817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54C7A412-B8E7-5428-292E-FD8C7CC15354}"/>
              </a:ext>
            </a:extLst>
          </p:cNvPr>
          <p:cNvSpPr/>
          <p:nvPr/>
        </p:nvSpPr>
        <p:spPr>
          <a:xfrm>
            <a:off x="1643519" y="2524829"/>
            <a:ext cx="1229466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58E2BB4E-EE66-CB7D-8690-7FC5B38F5150}"/>
              </a:ext>
            </a:extLst>
          </p:cNvPr>
          <p:cNvSpPr txBox="1"/>
          <p:nvPr/>
        </p:nvSpPr>
        <p:spPr>
          <a:xfrm>
            <a:off x="316060" y="2205437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A1C73AA0-9F59-226A-9887-9A727AE27708}"/>
              </a:ext>
            </a:extLst>
          </p:cNvPr>
          <p:cNvSpPr/>
          <p:nvPr/>
        </p:nvSpPr>
        <p:spPr>
          <a:xfrm>
            <a:off x="1577219" y="4073758"/>
            <a:ext cx="10359775" cy="1040713"/>
          </a:xfrm>
          <a:prstGeom prst="roundRect">
            <a:avLst>
              <a:gd name="adj" fmla="val 2249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12E16345-8845-BC07-C7D6-8D3B52448F5A}"/>
              </a:ext>
            </a:extLst>
          </p:cNvPr>
          <p:cNvSpPr/>
          <p:nvPr/>
        </p:nvSpPr>
        <p:spPr>
          <a:xfrm>
            <a:off x="1638906" y="4136364"/>
            <a:ext cx="293867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61C8DEA4-6D36-EA4F-BC79-8930BFA83180}"/>
              </a:ext>
            </a:extLst>
          </p:cNvPr>
          <p:cNvSpPr/>
          <p:nvPr/>
        </p:nvSpPr>
        <p:spPr>
          <a:xfrm>
            <a:off x="4584887" y="4131754"/>
            <a:ext cx="48967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D3DE298-17B7-1F2F-C914-DE726B1482F2}"/>
              </a:ext>
            </a:extLst>
          </p:cNvPr>
          <p:cNvSpPr/>
          <p:nvPr/>
        </p:nvSpPr>
        <p:spPr>
          <a:xfrm>
            <a:off x="5074565" y="4274204"/>
            <a:ext cx="48542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D5F85367-2A83-F29A-74BE-A181FE9FE2A2}"/>
              </a:ext>
            </a:extLst>
          </p:cNvPr>
          <p:cNvSpPr/>
          <p:nvPr/>
        </p:nvSpPr>
        <p:spPr>
          <a:xfrm>
            <a:off x="8013348" y="4976857"/>
            <a:ext cx="171802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BC5A5AB9-FB5C-18B1-D5A1-B3613F08D461}"/>
              </a:ext>
            </a:extLst>
          </p:cNvPr>
          <p:cNvSpPr/>
          <p:nvPr/>
        </p:nvSpPr>
        <p:spPr>
          <a:xfrm>
            <a:off x="1577219" y="5838486"/>
            <a:ext cx="10357280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F6833876-2714-4123-02C2-F8E8BBA41CE9}"/>
              </a:ext>
            </a:extLst>
          </p:cNvPr>
          <p:cNvSpPr/>
          <p:nvPr/>
        </p:nvSpPr>
        <p:spPr>
          <a:xfrm>
            <a:off x="3362428" y="5921625"/>
            <a:ext cx="122163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DFD3B8C7-BBCA-A69B-AC84-746948ED8DF0}"/>
              </a:ext>
            </a:extLst>
          </p:cNvPr>
          <p:cNvSpPr/>
          <p:nvPr/>
        </p:nvSpPr>
        <p:spPr>
          <a:xfrm>
            <a:off x="7281556" y="5884089"/>
            <a:ext cx="729319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9BB30CBC-4D7A-296E-C175-1BF01B513662}"/>
              </a:ext>
            </a:extLst>
          </p:cNvPr>
          <p:cNvSpPr/>
          <p:nvPr/>
        </p:nvSpPr>
        <p:spPr>
          <a:xfrm>
            <a:off x="8506465" y="6012409"/>
            <a:ext cx="122161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B4658B97-0AB3-EE08-B539-E04F51BBB94F}"/>
              </a:ext>
            </a:extLst>
          </p:cNvPr>
          <p:cNvSpPr/>
          <p:nvPr/>
        </p:nvSpPr>
        <p:spPr>
          <a:xfrm>
            <a:off x="10223188" y="6183975"/>
            <a:ext cx="736912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29CBAB9D-A6CF-893F-0DDB-6AB2E7DBC4AD}"/>
              </a:ext>
            </a:extLst>
          </p:cNvPr>
          <p:cNvSpPr/>
          <p:nvPr/>
        </p:nvSpPr>
        <p:spPr>
          <a:xfrm>
            <a:off x="216975" y="1549021"/>
            <a:ext cx="1360244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C40D0552-DE55-EAC2-B9CD-E62E2171A51F}"/>
              </a:ext>
            </a:extLst>
          </p:cNvPr>
          <p:cNvSpPr/>
          <p:nvPr/>
        </p:nvSpPr>
        <p:spPr>
          <a:xfrm>
            <a:off x="747546" y="1631101"/>
            <a:ext cx="731669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96ADD93-7B46-C5CA-1255-6E05BC55F272}"/>
              </a:ext>
            </a:extLst>
          </p:cNvPr>
          <p:cNvSpPr txBox="1"/>
          <p:nvPr/>
        </p:nvSpPr>
        <p:spPr>
          <a:xfrm>
            <a:off x="316880" y="163110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3FA5D9A8-5F1A-BEB1-13FF-2D3D0D573E27}"/>
              </a:ext>
            </a:extLst>
          </p:cNvPr>
          <p:cNvSpPr/>
          <p:nvPr/>
        </p:nvSpPr>
        <p:spPr>
          <a:xfrm>
            <a:off x="216975" y="3545150"/>
            <a:ext cx="1360244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400A0524-98ED-97AB-AB4A-143AEE30AC3E}"/>
              </a:ext>
            </a:extLst>
          </p:cNvPr>
          <p:cNvSpPr/>
          <p:nvPr/>
        </p:nvSpPr>
        <p:spPr>
          <a:xfrm>
            <a:off x="747546" y="3651455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BE2A62B-1EA2-B941-9D7E-E9A0D0CA2288}"/>
              </a:ext>
            </a:extLst>
          </p:cNvPr>
          <p:cNvSpPr txBox="1"/>
          <p:nvPr/>
        </p:nvSpPr>
        <p:spPr>
          <a:xfrm>
            <a:off x="316880" y="3651455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27212A73-5C1D-A1EC-1E71-CA7A782AD2E7}"/>
              </a:ext>
            </a:extLst>
          </p:cNvPr>
          <p:cNvSpPr/>
          <p:nvPr/>
        </p:nvSpPr>
        <p:spPr>
          <a:xfrm>
            <a:off x="216153" y="5300432"/>
            <a:ext cx="1360244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FBE3E57A-9800-1AC7-C9A4-AC2B51192302}"/>
              </a:ext>
            </a:extLst>
          </p:cNvPr>
          <p:cNvSpPr/>
          <p:nvPr/>
        </p:nvSpPr>
        <p:spPr>
          <a:xfrm>
            <a:off x="746724" y="5406737"/>
            <a:ext cx="731669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D5A9D48-5DE2-86EC-BF2D-BD163F7BDE6F}"/>
              </a:ext>
            </a:extLst>
          </p:cNvPr>
          <p:cNvSpPr txBox="1"/>
          <p:nvPr/>
        </p:nvSpPr>
        <p:spPr>
          <a:xfrm>
            <a:off x="316058" y="540673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51BEA797-1843-EE73-7D59-0ECE0F99B950}"/>
              </a:ext>
            </a:extLst>
          </p:cNvPr>
          <p:cNvSpPr/>
          <p:nvPr/>
        </p:nvSpPr>
        <p:spPr>
          <a:xfrm>
            <a:off x="5566338" y="4404087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9C4DD1A1-8A6D-6622-BBBC-09106D9F3756}"/>
              </a:ext>
            </a:extLst>
          </p:cNvPr>
          <p:cNvSpPr/>
          <p:nvPr/>
        </p:nvSpPr>
        <p:spPr>
          <a:xfrm>
            <a:off x="7772401" y="4879402"/>
            <a:ext cx="24094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61AB119B-7973-D1BC-546C-33C3F74BC2D1}"/>
              </a:ext>
            </a:extLst>
          </p:cNvPr>
          <p:cNvSpPr/>
          <p:nvPr/>
        </p:nvSpPr>
        <p:spPr>
          <a:xfrm>
            <a:off x="6304248" y="497845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8D6731A1-1FB4-C3D3-9A89-574EF61BFDA0}"/>
              </a:ext>
            </a:extLst>
          </p:cNvPr>
          <p:cNvSpPr/>
          <p:nvPr/>
        </p:nvSpPr>
        <p:spPr>
          <a:xfrm>
            <a:off x="2869580" y="2045818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CD51B7C0-FC11-BDB4-61D5-88A51C91CFF6}"/>
              </a:ext>
            </a:extLst>
          </p:cNvPr>
          <p:cNvSpPr/>
          <p:nvPr/>
        </p:nvSpPr>
        <p:spPr>
          <a:xfrm>
            <a:off x="1576398" y="1549021"/>
            <a:ext cx="10362830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2532F1E3-D364-6CD7-C42C-DAB118FA121B}"/>
              </a:ext>
            </a:extLst>
          </p:cNvPr>
          <p:cNvSpPr/>
          <p:nvPr/>
        </p:nvSpPr>
        <p:spPr>
          <a:xfrm>
            <a:off x="1646791" y="1612445"/>
            <a:ext cx="122279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(Device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485C25CB-7702-6AB9-E83E-C861FDBB34FC}"/>
              </a:ext>
            </a:extLst>
          </p:cNvPr>
          <p:cNvSpPr/>
          <p:nvPr/>
        </p:nvSpPr>
        <p:spPr>
          <a:xfrm>
            <a:off x="1578426" y="3544501"/>
            <a:ext cx="10360801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E8276BDF-54DA-54D8-F768-B78DA426301D}"/>
              </a:ext>
            </a:extLst>
          </p:cNvPr>
          <p:cNvSpPr/>
          <p:nvPr/>
        </p:nvSpPr>
        <p:spPr>
          <a:xfrm>
            <a:off x="1644133" y="3574050"/>
            <a:ext cx="2943930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1A680839-EA7F-13B5-3EE6-4D9A8237B8E1}"/>
              </a:ext>
            </a:extLst>
          </p:cNvPr>
          <p:cNvSpPr/>
          <p:nvPr/>
        </p:nvSpPr>
        <p:spPr>
          <a:xfrm>
            <a:off x="1647575" y="3709627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9F27FB5C-4B22-D70C-18F0-15E1099B0346}"/>
              </a:ext>
            </a:extLst>
          </p:cNvPr>
          <p:cNvSpPr/>
          <p:nvPr/>
        </p:nvSpPr>
        <p:spPr>
          <a:xfrm>
            <a:off x="3362428" y="3711719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A185D42E-2AE9-36FA-AED7-131755380C14}"/>
              </a:ext>
            </a:extLst>
          </p:cNvPr>
          <p:cNvSpPr/>
          <p:nvPr/>
        </p:nvSpPr>
        <p:spPr>
          <a:xfrm>
            <a:off x="3356078" y="1612445"/>
            <a:ext cx="122150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75FE3A3F-CF74-E25D-69F2-6D6E56AD26EB}"/>
              </a:ext>
            </a:extLst>
          </p:cNvPr>
          <p:cNvCxnSpPr>
            <a:cxnSpLocks/>
            <a:stCxn id="223" idx="3"/>
            <a:endCxn id="63" idx="1"/>
          </p:cNvCxnSpPr>
          <p:nvPr/>
        </p:nvCxnSpPr>
        <p:spPr>
          <a:xfrm flipV="1">
            <a:off x="3356078" y="1662551"/>
            <a:ext cx="0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文本框 216">
            <a:extLst>
              <a:ext uri="{FF2B5EF4-FFF2-40B4-BE49-F238E27FC236}">
                <a16:creationId xmlns:a16="http://schemas.microsoft.com/office/drawing/2014/main" id="{D06363D5-4B3B-E59E-4E7F-638645D6F962}"/>
              </a:ext>
            </a:extLst>
          </p:cNvPr>
          <p:cNvSpPr txBox="1"/>
          <p:nvPr/>
        </p:nvSpPr>
        <p:spPr>
          <a:xfrm>
            <a:off x="2819867" y="2146841"/>
            <a:ext cx="10644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08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09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圆角矩形 195">
            <a:extLst>
              <a:ext uri="{FF2B5EF4-FFF2-40B4-BE49-F238E27FC236}">
                <a16:creationId xmlns:a16="http://schemas.microsoft.com/office/drawing/2014/main" id="{AFC838AE-D5B3-D24F-3A4E-71B31EAC3207}"/>
              </a:ext>
            </a:extLst>
          </p:cNvPr>
          <p:cNvSpPr/>
          <p:nvPr/>
        </p:nvSpPr>
        <p:spPr>
          <a:xfrm>
            <a:off x="3843556" y="2612570"/>
            <a:ext cx="245409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7" name="直线箭头连接符 196">
            <a:extLst>
              <a:ext uri="{FF2B5EF4-FFF2-40B4-BE49-F238E27FC236}">
                <a16:creationId xmlns:a16="http://schemas.microsoft.com/office/drawing/2014/main" id="{B41D6B40-8F03-AB48-3612-B83F738C716E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3843556" y="1712656"/>
            <a:ext cx="0" cy="971332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线箭头连接符 199">
            <a:extLst>
              <a:ext uri="{FF2B5EF4-FFF2-40B4-BE49-F238E27FC236}">
                <a16:creationId xmlns:a16="http://schemas.microsoft.com/office/drawing/2014/main" id="{65AAF48F-8E65-93E6-6DFF-961F0116351B}"/>
              </a:ext>
            </a:extLst>
          </p:cNvPr>
          <p:cNvCxnSpPr>
            <a:cxnSpLocks/>
            <a:stCxn id="196" idx="0"/>
            <a:endCxn id="63" idx="2"/>
          </p:cNvCxnSpPr>
          <p:nvPr/>
        </p:nvCxnSpPr>
        <p:spPr>
          <a:xfrm flipV="1">
            <a:off x="3966261" y="1712656"/>
            <a:ext cx="571" cy="89991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文本框 202">
            <a:extLst>
              <a:ext uri="{FF2B5EF4-FFF2-40B4-BE49-F238E27FC236}">
                <a16:creationId xmlns:a16="http://schemas.microsoft.com/office/drawing/2014/main" id="{659C216D-7DB2-2F30-3CE3-BEFBAC2C2E30}"/>
              </a:ext>
            </a:extLst>
          </p:cNvPr>
          <p:cNvSpPr txBox="1"/>
          <p:nvPr/>
        </p:nvSpPr>
        <p:spPr>
          <a:xfrm>
            <a:off x="3793726" y="2724924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1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8PM ~ 12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2AM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7C2BE84C-1BA1-DC31-F2EA-0D9A7A8C89A5}"/>
              </a:ext>
            </a:extLst>
          </p:cNvPr>
          <p:cNvSpPr/>
          <p:nvPr/>
        </p:nvSpPr>
        <p:spPr>
          <a:xfrm>
            <a:off x="4588062" y="2229809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0" name="直线箭头连接符 209">
            <a:extLst>
              <a:ext uri="{FF2B5EF4-FFF2-40B4-BE49-F238E27FC236}">
                <a16:creationId xmlns:a16="http://schemas.microsoft.com/office/drawing/2014/main" id="{B8478393-A7E8-39C9-45F5-EC3BD191B084}"/>
              </a:ext>
            </a:extLst>
          </p:cNvPr>
          <p:cNvCxnSpPr>
            <a:cxnSpLocks/>
            <a:stCxn id="63" idx="3"/>
            <a:endCxn id="209" idx="1"/>
          </p:cNvCxnSpPr>
          <p:nvPr/>
        </p:nvCxnSpPr>
        <p:spPr>
          <a:xfrm>
            <a:off x="4577585" y="1662551"/>
            <a:ext cx="10477" cy="638676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文本框 215">
            <a:extLst>
              <a:ext uri="{FF2B5EF4-FFF2-40B4-BE49-F238E27FC236}">
                <a16:creationId xmlns:a16="http://schemas.microsoft.com/office/drawing/2014/main" id="{B4A78741-E746-B56F-FF26-F7890B610197}"/>
              </a:ext>
            </a:extLst>
          </p:cNvPr>
          <p:cNvSpPr txBox="1"/>
          <p:nvPr/>
        </p:nvSpPr>
        <p:spPr>
          <a:xfrm>
            <a:off x="5012614" y="2319820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5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16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49D77F40-A986-18A9-062D-E9B0BE915665}"/>
              </a:ext>
            </a:extLst>
          </p:cNvPr>
          <p:cNvSpPr/>
          <p:nvPr/>
        </p:nvSpPr>
        <p:spPr>
          <a:xfrm>
            <a:off x="5076590" y="2751875"/>
            <a:ext cx="686466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8" name="直线箭头连接符 217">
            <a:extLst>
              <a:ext uri="{FF2B5EF4-FFF2-40B4-BE49-F238E27FC236}">
                <a16:creationId xmlns:a16="http://schemas.microsoft.com/office/drawing/2014/main" id="{BC62DEB6-52F9-2430-975B-8512D6164E6D}"/>
              </a:ext>
            </a:extLst>
          </p:cNvPr>
          <p:cNvCxnSpPr>
            <a:cxnSpLocks/>
            <a:stCxn id="209" idx="3"/>
            <a:endCxn id="226" idx="1"/>
          </p:cNvCxnSpPr>
          <p:nvPr/>
        </p:nvCxnSpPr>
        <p:spPr>
          <a:xfrm>
            <a:off x="5074560" y="2301227"/>
            <a:ext cx="2030" cy="50075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圆角矩形 229">
            <a:extLst>
              <a:ext uri="{FF2B5EF4-FFF2-40B4-BE49-F238E27FC236}">
                <a16:creationId xmlns:a16="http://schemas.microsoft.com/office/drawing/2014/main" id="{8737BE1D-A361-9EDE-F5E0-63A19B8FC60D}"/>
              </a:ext>
            </a:extLst>
          </p:cNvPr>
          <p:cNvSpPr/>
          <p:nvPr/>
        </p:nvSpPr>
        <p:spPr>
          <a:xfrm>
            <a:off x="217983" y="3152667"/>
            <a:ext cx="1360244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预定义流程 230">
            <a:extLst>
              <a:ext uri="{FF2B5EF4-FFF2-40B4-BE49-F238E27FC236}">
                <a16:creationId xmlns:a16="http://schemas.microsoft.com/office/drawing/2014/main" id="{4E64272F-F507-272A-AEDD-890E261DCB1B}"/>
              </a:ext>
            </a:extLst>
          </p:cNvPr>
          <p:cNvSpPr/>
          <p:nvPr/>
        </p:nvSpPr>
        <p:spPr>
          <a:xfrm>
            <a:off x="748554" y="3204472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6A33C171-B5BF-E7C6-F63E-BC91D50CACB4}"/>
              </a:ext>
            </a:extLst>
          </p:cNvPr>
          <p:cNvSpPr txBox="1"/>
          <p:nvPr/>
        </p:nvSpPr>
        <p:spPr>
          <a:xfrm>
            <a:off x="317888" y="3204472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圆角矩形 236">
            <a:extLst>
              <a:ext uri="{FF2B5EF4-FFF2-40B4-BE49-F238E27FC236}">
                <a16:creationId xmlns:a16="http://schemas.microsoft.com/office/drawing/2014/main" id="{DE0BB528-4285-6132-81DB-A6829FCF1BE2}"/>
              </a:ext>
            </a:extLst>
          </p:cNvPr>
          <p:cNvSpPr/>
          <p:nvPr/>
        </p:nvSpPr>
        <p:spPr>
          <a:xfrm>
            <a:off x="1577422" y="3153593"/>
            <a:ext cx="10359775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4FA98C85-3482-2F59-2166-B108D9C877E9}"/>
              </a:ext>
            </a:extLst>
          </p:cNvPr>
          <p:cNvSpPr/>
          <p:nvPr/>
        </p:nvSpPr>
        <p:spPr>
          <a:xfrm>
            <a:off x="1646791" y="3270944"/>
            <a:ext cx="3427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B00A128F-D621-38FD-D5F7-35437ABA0C99}"/>
              </a:ext>
            </a:extLst>
          </p:cNvPr>
          <p:cNvSpPr/>
          <p:nvPr/>
        </p:nvSpPr>
        <p:spPr>
          <a:xfrm>
            <a:off x="5074560" y="3270944"/>
            <a:ext cx="675650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圆角矩形 239">
            <a:extLst>
              <a:ext uri="{FF2B5EF4-FFF2-40B4-BE49-F238E27FC236}">
                <a16:creationId xmlns:a16="http://schemas.microsoft.com/office/drawing/2014/main" id="{20033EE8-81E4-3A04-1B5C-AECEBBA4C261}"/>
              </a:ext>
            </a:extLst>
          </p:cNvPr>
          <p:cNvSpPr/>
          <p:nvPr/>
        </p:nvSpPr>
        <p:spPr>
          <a:xfrm>
            <a:off x="1574724" y="5299783"/>
            <a:ext cx="10359775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248F633B-9B50-DA0A-C0FC-F71A34A1584A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10960100" y="5548435"/>
            <a:ext cx="0" cy="684447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CC3215B4-A3DA-F0ED-0F62-1AEE35068D9C}"/>
              </a:ext>
            </a:extLst>
          </p:cNvPr>
          <p:cNvSpPr/>
          <p:nvPr/>
        </p:nvSpPr>
        <p:spPr>
          <a:xfrm>
            <a:off x="1638085" y="5499528"/>
            <a:ext cx="932201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E1B96C5A-510A-FFD5-C6FA-47998D15AE11}"/>
              </a:ext>
            </a:extLst>
          </p:cNvPr>
          <p:cNvSpPr txBox="1"/>
          <p:nvPr/>
        </p:nvSpPr>
        <p:spPr>
          <a:xfrm>
            <a:off x="11259364" y="5406737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4" name="直线箭头连接符 243">
            <a:extLst>
              <a:ext uri="{FF2B5EF4-FFF2-40B4-BE49-F238E27FC236}">
                <a16:creationId xmlns:a16="http://schemas.microsoft.com/office/drawing/2014/main" id="{B3BC016C-169B-3351-5B4A-63C5A81935E0}"/>
              </a:ext>
            </a:extLst>
          </p:cNvPr>
          <p:cNvCxnSpPr>
            <a:cxnSpLocks/>
            <a:stCxn id="9" idx="3"/>
            <a:endCxn id="26" idx="1"/>
          </p:cNvCxnSpPr>
          <p:nvPr/>
        </p:nvCxnSpPr>
        <p:spPr>
          <a:xfrm flipH="1">
            <a:off x="4584887" y="3631377"/>
            <a:ext cx="3176" cy="549284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圆角矩形 252">
            <a:extLst>
              <a:ext uri="{FF2B5EF4-FFF2-40B4-BE49-F238E27FC236}">
                <a16:creationId xmlns:a16="http://schemas.microsoft.com/office/drawing/2014/main" id="{8747E084-9692-B217-2538-C8C8A35368F3}"/>
              </a:ext>
            </a:extLst>
          </p:cNvPr>
          <p:cNvSpPr/>
          <p:nvPr/>
        </p:nvSpPr>
        <p:spPr>
          <a:xfrm>
            <a:off x="5074560" y="3571437"/>
            <a:ext cx="485437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4" name="直线箭头连接符 253">
            <a:extLst>
              <a:ext uri="{FF2B5EF4-FFF2-40B4-BE49-F238E27FC236}">
                <a16:creationId xmlns:a16="http://schemas.microsoft.com/office/drawing/2014/main" id="{7B338EFC-1AF0-CCAD-D432-C159BE6AE973}"/>
              </a:ext>
            </a:extLst>
          </p:cNvPr>
          <p:cNvCxnSpPr>
            <a:cxnSpLocks/>
            <a:stCxn id="26" idx="3"/>
            <a:endCxn id="253" idx="1"/>
          </p:cNvCxnSpPr>
          <p:nvPr/>
        </p:nvCxnSpPr>
        <p:spPr>
          <a:xfrm flipV="1">
            <a:off x="5074560" y="3628764"/>
            <a:ext cx="0" cy="551897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圆角矩形 257">
            <a:extLst>
              <a:ext uri="{FF2B5EF4-FFF2-40B4-BE49-F238E27FC236}">
                <a16:creationId xmlns:a16="http://schemas.microsoft.com/office/drawing/2014/main" id="{7D277FED-33BF-1D71-FDD7-C9C3770587A9}"/>
              </a:ext>
            </a:extLst>
          </p:cNvPr>
          <p:cNvSpPr/>
          <p:nvPr/>
        </p:nvSpPr>
        <p:spPr>
          <a:xfrm>
            <a:off x="6044452" y="4562055"/>
            <a:ext cx="25618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59" name="圆角矩形 258">
            <a:extLst>
              <a:ext uri="{FF2B5EF4-FFF2-40B4-BE49-F238E27FC236}">
                <a16:creationId xmlns:a16="http://schemas.microsoft.com/office/drawing/2014/main" id="{8FD761DA-7F56-B483-06FD-6582706969EE}"/>
              </a:ext>
            </a:extLst>
          </p:cNvPr>
          <p:cNvSpPr/>
          <p:nvPr/>
        </p:nvSpPr>
        <p:spPr>
          <a:xfrm>
            <a:off x="6789671" y="450777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0" name="圆角矩形 259">
            <a:extLst>
              <a:ext uri="{FF2B5EF4-FFF2-40B4-BE49-F238E27FC236}">
                <a16:creationId xmlns:a16="http://schemas.microsoft.com/office/drawing/2014/main" id="{EAE570D7-7B29-454E-8BC8-FDAF35737AA4}"/>
              </a:ext>
            </a:extLst>
          </p:cNvPr>
          <p:cNvSpPr/>
          <p:nvPr/>
        </p:nvSpPr>
        <p:spPr>
          <a:xfrm>
            <a:off x="7281556" y="4642411"/>
            <a:ext cx="2463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61" name="圆角矩形 260">
            <a:extLst>
              <a:ext uri="{FF2B5EF4-FFF2-40B4-BE49-F238E27FC236}">
                <a16:creationId xmlns:a16="http://schemas.microsoft.com/office/drawing/2014/main" id="{C858475F-B6B7-02CA-BE70-6CA262E4EF9B}"/>
              </a:ext>
            </a:extLst>
          </p:cNvPr>
          <p:cNvSpPr/>
          <p:nvPr/>
        </p:nvSpPr>
        <p:spPr>
          <a:xfrm>
            <a:off x="7527925" y="4768051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3" name="圆角矩形 262">
            <a:extLst>
              <a:ext uri="{FF2B5EF4-FFF2-40B4-BE49-F238E27FC236}">
                <a16:creationId xmlns:a16="http://schemas.microsoft.com/office/drawing/2014/main" id="{20658A96-110B-AD1F-0574-46FD90D68417}"/>
              </a:ext>
            </a:extLst>
          </p:cNvPr>
          <p:cNvSpPr/>
          <p:nvPr/>
        </p:nvSpPr>
        <p:spPr>
          <a:xfrm>
            <a:off x="6057917" y="3568469"/>
            <a:ext cx="731754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4" name="直线箭头连接符 263">
            <a:extLst>
              <a:ext uri="{FF2B5EF4-FFF2-40B4-BE49-F238E27FC236}">
                <a16:creationId xmlns:a16="http://schemas.microsoft.com/office/drawing/2014/main" id="{C6CADA7F-1D19-443A-D13E-7B0BED00F4BB}"/>
              </a:ext>
            </a:extLst>
          </p:cNvPr>
          <p:cNvCxnSpPr>
            <a:cxnSpLocks/>
            <a:stCxn id="253" idx="3"/>
            <a:endCxn id="58" idx="1"/>
          </p:cNvCxnSpPr>
          <p:nvPr/>
        </p:nvCxnSpPr>
        <p:spPr>
          <a:xfrm>
            <a:off x="5559997" y="3628764"/>
            <a:ext cx="6341" cy="824230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直线箭头连接符 268">
            <a:extLst>
              <a:ext uri="{FF2B5EF4-FFF2-40B4-BE49-F238E27FC236}">
                <a16:creationId xmlns:a16="http://schemas.microsoft.com/office/drawing/2014/main" id="{F08AF566-8D46-0C15-7091-26D1FB74A08C}"/>
              </a:ext>
            </a:extLst>
          </p:cNvPr>
          <p:cNvCxnSpPr>
            <a:cxnSpLocks/>
            <a:stCxn id="58" idx="3"/>
            <a:endCxn id="263" idx="1"/>
          </p:cNvCxnSpPr>
          <p:nvPr/>
        </p:nvCxnSpPr>
        <p:spPr>
          <a:xfrm flipV="1">
            <a:off x="6051761" y="3625796"/>
            <a:ext cx="6156" cy="827198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直线箭头连接符 275">
            <a:extLst>
              <a:ext uri="{FF2B5EF4-FFF2-40B4-BE49-F238E27FC236}">
                <a16:creationId xmlns:a16="http://schemas.microsoft.com/office/drawing/2014/main" id="{3CED94FD-1869-EB22-AC6E-3CFC3DC38F4A}"/>
              </a:ext>
            </a:extLst>
          </p:cNvPr>
          <p:cNvCxnSpPr>
            <a:cxnSpLocks/>
            <a:stCxn id="263" idx="3"/>
            <a:endCxn id="259" idx="1"/>
          </p:cNvCxnSpPr>
          <p:nvPr/>
        </p:nvCxnSpPr>
        <p:spPr>
          <a:xfrm>
            <a:off x="6789671" y="3625796"/>
            <a:ext cx="0" cy="93088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6CC30D37-CE69-9525-8238-CB8EDB05DFE2}"/>
              </a:ext>
            </a:extLst>
          </p:cNvPr>
          <p:cNvSpPr/>
          <p:nvPr/>
        </p:nvSpPr>
        <p:spPr>
          <a:xfrm>
            <a:off x="7281556" y="3574049"/>
            <a:ext cx="246369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84" name="直线箭头连接符 283">
            <a:extLst>
              <a:ext uri="{FF2B5EF4-FFF2-40B4-BE49-F238E27FC236}">
                <a16:creationId xmlns:a16="http://schemas.microsoft.com/office/drawing/2014/main" id="{4962A0DC-78B4-6488-06D8-1AAE850A0D25}"/>
              </a:ext>
            </a:extLst>
          </p:cNvPr>
          <p:cNvCxnSpPr>
            <a:cxnSpLocks/>
            <a:stCxn id="280" idx="3"/>
            <a:endCxn id="261" idx="1"/>
          </p:cNvCxnSpPr>
          <p:nvPr/>
        </p:nvCxnSpPr>
        <p:spPr>
          <a:xfrm>
            <a:off x="7527925" y="3631376"/>
            <a:ext cx="0" cy="1185582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直线箭头连接符 278">
            <a:extLst>
              <a:ext uri="{FF2B5EF4-FFF2-40B4-BE49-F238E27FC236}">
                <a16:creationId xmlns:a16="http://schemas.microsoft.com/office/drawing/2014/main" id="{DC755A7B-A02F-7B28-2870-66EDDE8B49DC}"/>
              </a:ext>
            </a:extLst>
          </p:cNvPr>
          <p:cNvCxnSpPr>
            <a:cxnSpLocks/>
            <a:stCxn id="259" idx="3"/>
            <a:endCxn id="280" idx="1"/>
          </p:cNvCxnSpPr>
          <p:nvPr/>
        </p:nvCxnSpPr>
        <p:spPr>
          <a:xfrm flipV="1">
            <a:off x="7275094" y="3631376"/>
            <a:ext cx="6462" cy="92530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4CD96CDE-0E07-636C-5DF8-92686DECD9F1}"/>
              </a:ext>
            </a:extLst>
          </p:cNvPr>
          <p:cNvSpPr/>
          <p:nvPr/>
        </p:nvSpPr>
        <p:spPr>
          <a:xfrm>
            <a:off x="9737329" y="4976858"/>
            <a:ext cx="2203928" cy="97812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761AD303-6BCC-B45D-F986-6ACB4AAD7FFF}"/>
              </a:ext>
            </a:extLst>
          </p:cNvPr>
          <p:cNvSpPr/>
          <p:nvPr/>
        </p:nvSpPr>
        <p:spPr>
          <a:xfrm>
            <a:off x="3356078" y="4666753"/>
            <a:ext cx="122880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HA Test (Paa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B418EBC0-AAED-26D5-2AD8-91BEB300E9D2}"/>
              </a:ext>
            </a:extLst>
          </p:cNvPr>
          <p:cNvSpPr/>
          <p:nvPr/>
        </p:nvSpPr>
        <p:spPr>
          <a:xfrm>
            <a:off x="1638083" y="2046207"/>
            <a:ext cx="122506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44CA17D5-0018-BA75-D8D7-8EF1DF9FEFFB}"/>
              </a:ext>
            </a:extLst>
          </p:cNvPr>
          <p:cNvCxnSpPr>
            <a:cxnSpLocks/>
            <a:stCxn id="8" idx="3"/>
            <a:endCxn id="223" idx="1"/>
          </p:cNvCxnSpPr>
          <p:nvPr/>
        </p:nvCxnSpPr>
        <p:spPr>
          <a:xfrm flipH="1">
            <a:off x="2869580" y="1662551"/>
            <a:ext cx="1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>
            <a:extLst>
              <a:ext uri="{FF2B5EF4-FFF2-40B4-BE49-F238E27FC236}">
                <a16:creationId xmlns:a16="http://schemas.microsoft.com/office/drawing/2014/main" id="{EC4E6477-E047-A0F8-F285-AC247BF3A446}"/>
              </a:ext>
            </a:extLst>
          </p:cNvPr>
          <p:cNvSpPr/>
          <p:nvPr/>
        </p:nvSpPr>
        <p:spPr>
          <a:xfrm>
            <a:off x="3352525" y="2349097"/>
            <a:ext cx="501750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AB5ED6FE-8D51-AE68-B0DB-ECC0F99641F7}"/>
              </a:ext>
            </a:extLst>
          </p:cNvPr>
          <p:cNvSpPr/>
          <p:nvPr/>
        </p:nvSpPr>
        <p:spPr>
          <a:xfrm>
            <a:off x="3965787" y="2349097"/>
            <a:ext cx="607738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53BAC014-55EF-1CE8-EAAC-D51F5C1B1C76}"/>
              </a:ext>
            </a:extLst>
          </p:cNvPr>
          <p:cNvSpPr/>
          <p:nvPr/>
        </p:nvSpPr>
        <p:spPr>
          <a:xfrm>
            <a:off x="4488105" y="2117236"/>
            <a:ext cx="666120" cy="243944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27989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D7BE57E-BCFD-20DF-0B5C-54D5D908C5B5}"/>
              </a:ext>
            </a:extLst>
          </p:cNvPr>
          <p:cNvSpPr txBox="1"/>
          <p:nvPr/>
        </p:nvSpPr>
        <p:spPr>
          <a:xfrm>
            <a:off x="4621004" y="4603113"/>
            <a:ext cx="1326230" cy="4770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SG" altLang="en-US" sz="500" dirty="0"/>
              <a:t>这里的</a:t>
            </a:r>
            <a:r>
              <a:rPr kumimoji="1" lang="en-US" altLang="zh-SG" sz="500" dirty="0"/>
              <a:t>2</a:t>
            </a:r>
            <a:r>
              <a:rPr kumimoji="1" lang="zh-SG" altLang="en-US" sz="500" dirty="0"/>
              <a:t>个</a:t>
            </a:r>
            <a:r>
              <a:rPr kumimoji="1" lang="en-US" altLang="zh-SG" sz="500" dirty="0"/>
              <a:t>Dry-run</a:t>
            </a:r>
            <a:r>
              <a:rPr kumimoji="1" lang="zh-CN" altLang="en-US" sz="500" dirty="0"/>
              <a:t>，二选一：</a:t>
            </a:r>
            <a:br>
              <a:rPr kumimoji="1" lang="en-US" altLang="zh-CN" sz="500" dirty="0"/>
            </a:br>
            <a:r>
              <a:rPr kumimoji="1" lang="en-US" altLang="zh-CN" sz="500" dirty="0"/>
              <a:t>-</a:t>
            </a:r>
            <a:r>
              <a:rPr kumimoji="1" lang="zh-CN" altLang="en-US" sz="500" dirty="0"/>
              <a:t> 如果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前</a:t>
            </a:r>
            <a:r>
              <a:rPr kumimoji="1" lang="en-US" altLang="zh-CN" sz="500" dirty="0"/>
              <a:t>2</a:t>
            </a:r>
            <a:r>
              <a:rPr kumimoji="1" lang="zh-CN" altLang="en-US" sz="500" dirty="0"/>
              <a:t>次</a:t>
            </a:r>
            <a:r>
              <a:rPr kumimoji="1" lang="en-US" altLang="zh-CN" sz="500" dirty="0"/>
              <a:t>dry-run</a:t>
            </a:r>
            <a:r>
              <a:rPr kumimoji="1" lang="zh-CN" altLang="en-US" sz="500" b="1" dirty="0">
                <a:solidFill>
                  <a:schemeClr val="accent3"/>
                </a:solidFill>
              </a:rPr>
              <a:t>不理想</a:t>
            </a:r>
            <a:r>
              <a:rPr kumimoji="1" lang="zh-CN" altLang="en-US" sz="500" dirty="0"/>
              <a:t>，则这里用于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的第三次</a:t>
            </a:r>
            <a:r>
              <a:rPr kumimoji="1" lang="en-US" altLang="zh-CN" sz="500" dirty="0"/>
              <a:t>dry-run</a:t>
            </a:r>
            <a:br>
              <a:rPr kumimoji="1" lang="en-US" altLang="zh-CN" sz="500" dirty="0"/>
            </a:br>
            <a:r>
              <a:rPr kumimoji="1" lang="en-US" altLang="zh-CN" sz="500" dirty="0"/>
              <a:t>-</a:t>
            </a:r>
            <a:r>
              <a:rPr kumimoji="1" lang="zh-CN" altLang="en-US" sz="500" dirty="0"/>
              <a:t> 如果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前</a:t>
            </a:r>
            <a:r>
              <a:rPr kumimoji="1" lang="en-US" altLang="zh-CN" sz="500" dirty="0"/>
              <a:t>2</a:t>
            </a:r>
            <a:r>
              <a:rPr kumimoji="1" lang="zh-CN" altLang="en-US" sz="500" dirty="0"/>
              <a:t>次</a:t>
            </a:r>
            <a:r>
              <a:rPr kumimoji="1" lang="en-US" altLang="zh-CN" sz="500" dirty="0"/>
              <a:t>dry-run</a:t>
            </a:r>
            <a:r>
              <a:rPr kumimoji="1" lang="zh-CN" altLang="en-US" sz="500" b="1" dirty="0">
                <a:solidFill>
                  <a:srgbClr val="00833B"/>
                </a:solidFill>
              </a:rPr>
              <a:t>结果还行</a:t>
            </a:r>
            <a:r>
              <a:rPr kumimoji="1" lang="zh-CN" altLang="en-US" sz="500" dirty="0"/>
              <a:t>，则这里直接做</a:t>
            </a:r>
            <a:r>
              <a:rPr kumimoji="1" lang="en-US" altLang="zh-CN" sz="500" dirty="0"/>
              <a:t>non-prod</a:t>
            </a:r>
            <a:r>
              <a:rPr kumimoji="1" lang="zh-CN" altLang="en-US" sz="500" dirty="0"/>
              <a:t>的第一次</a:t>
            </a:r>
            <a:r>
              <a:rPr kumimoji="1" lang="en-US" altLang="zh-CN" sz="500" dirty="0"/>
              <a:t>dry-run</a:t>
            </a:r>
            <a:endParaRPr kumimoji="1" lang="zh-SG" altLang="en-US" sz="500" dirty="0"/>
          </a:p>
        </p:txBody>
      </p:sp>
      <p:sp>
        <p:nvSpPr>
          <p:cNvPr id="18" name="右箭头 17">
            <a:extLst>
              <a:ext uri="{FF2B5EF4-FFF2-40B4-BE49-F238E27FC236}">
                <a16:creationId xmlns:a16="http://schemas.microsoft.com/office/drawing/2014/main" id="{8651B8D5-3095-4C73-C75A-70CE3AEFAA84}"/>
              </a:ext>
            </a:extLst>
          </p:cNvPr>
          <p:cNvSpPr/>
          <p:nvPr/>
        </p:nvSpPr>
        <p:spPr>
          <a:xfrm rot="14278389">
            <a:off x="4741330" y="4400301"/>
            <a:ext cx="294291" cy="20319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98E2AB0-793F-DE30-BC25-54F10BB9F29D}"/>
              </a:ext>
            </a:extLst>
          </p:cNvPr>
          <p:cNvSpPr/>
          <p:nvPr/>
        </p:nvSpPr>
        <p:spPr>
          <a:xfrm>
            <a:off x="1574721" y="1064126"/>
            <a:ext cx="2522742" cy="5550569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609392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B6A391-41ED-ED31-7067-0F66FF53B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CCB0E7D8-6B59-9D92-D835-E94793267B17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C38060AE-AA7E-4DB6-5FDB-59A1FF49C7DA}"/>
              </a:ext>
            </a:extLst>
          </p:cNvPr>
          <p:cNvGraphicFramePr>
            <a:graphicFrameLocks noGrp="1"/>
          </p:cNvGraphicFramePr>
          <p:nvPr/>
        </p:nvGraphicFramePr>
        <p:xfrm>
          <a:off x="1640114" y="758281"/>
          <a:ext cx="10299114" cy="5759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17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87809186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8568929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3219548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7561708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555038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3724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66848405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32471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39836284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3383021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159591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52924632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5788146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5979791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968617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4373511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5064502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83972263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01034902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7558539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646957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6635692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9871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89559647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3648896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9089331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0568119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1380555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5734977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2090499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11286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25671246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77607767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141429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221895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668621133"/>
                    </a:ext>
                  </a:extLst>
                </a:gridCol>
              </a:tblGrid>
              <a:tr h="0"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gridSpan="1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8E1E3391-837A-2AB9-0878-867DC49E147A}"/>
              </a:ext>
            </a:extLst>
          </p:cNvPr>
          <p:cNvSpPr/>
          <p:nvPr/>
        </p:nvSpPr>
        <p:spPr>
          <a:xfrm>
            <a:off x="216977" y="4073758"/>
            <a:ext cx="1360243" cy="1040713"/>
          </a:xfrm>
          <a:prstGeom prst="roundRect">
            <a:avLst>
              <a:gd name="adj" fmla="val 1941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610661EC-62C2-1519-1A6C-70DBC6C5FD66}"/>
              </a:ext>
            </a:extLst>
          </p:cNvPr>
          <p:cNvSpPr/>
          <p:nvPr/>
        </p:nvSpPr>
        <p:spPr>
          <a:xfrm>
            <a:off x="747548" y="4393513"/>
            <a:ext cx="731669" cy="359423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04F091A6-2BE3-551B-AFB7-AB50FAE8A83B}"/>
              </a:ext>
            </a:extLst>
          </p:cNvPr>
          <p:cNvSpPr txBox="1"/>
          <p:nvPr/>
        </p:nvSpPr>
        <p:spPr>
          <a:xfrm>
            <a:off x="316882" y="4393510"/>
            <a:ext cx="406741" cy="359425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E1775E11-A209-9B6E-BCB6-DD9C104205CD}"/>
              </a:ext>
            </a:extLst>
          </p:cNvPr>
          <p:cNvSpPr/>
          <p:nvPr/>
        </p:nvSpPr>
        <p:spPr>
          <a:xfrm>
            <a:off x="216977" y="5838485"/>
            <a:ext cx="1360244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DFBE3995-9888-8355-3343-54750EC09FDC}"/>
              </a:ext>
            </a:extLst>
          </p:cNvPr>
          <p:cNvSpPr/>
          <p:nvPr/>
        </p:nvSpPr>
        <p:spPr>
          <a:xfrm>
            <a:off x="755297" y="5943717"/>
            <a:ext cx="731669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3F24A85E-A5E9-F669-F622-6D2038397DF8}"/>
              </a:ext>
            </a:extLst>
          </p:cNvPr>
          <p:cNvSpPr txBox="1"/>
          <p:nvPr/>
        </p:nvSpPr>
        <p:spPr>
          <a:xfrm>
            <a:off x="324631" y="5943717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D7C26A2C-0896-5DEC-0888-D7824D9E7307}"/>
              </a:ext>
            </a:extLst>
          </p:cNvPr>
          <p:cNvSpPr/>
          <p:nvPr/>
        </p:nvSpPr>
        <p:spPr>
          <a:xfrm>
            <a:off x="216155" y="2001569"/>
            <a:ext cx="1360244" cy="953704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2093A92F-D275-3A87-403B-929E1CD622F2}"/>
              </a:ext>
            </a:extLst>
          </p:cNvPr>
          <p:cNvSpPr/>
          <p:nvPr/>
        </p:nvSpPr>
        <p:spPr>
          <a:xfrm>
            <a:off x="746726" y="2205437"/>
            <a:ext cx="731669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3E5F03FE-5A9F-01FC-B3EE-6B67E7E93F09}"/>
              </a:ext>
            </a:extLst>
          </p:cNvPr>
          <p:cNvSpPr/>
          <p:nvPr/>
        </p:nvSpPr>
        <p:spPr>
          <a:xfrm>
            <a:off x="1576397" y="2001456"/>
            <a:ext cx="10360801" cy="953817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6AA082C5-CE98-1402-07DF-F118CFD5D21C}"/>
              </a:ext>
            </a:extLst>
          </p:cNvPr>
          <p:cNvSpPr/>
          <p:nvPr/>
        </p:nvSpPr>
        <p:spPr>
          <a:xfrm>
            <a:off x="1643519" y="2524829"/>
            <a:ext cx="1229466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CC207A2-D76E-5D00-5173-494537CB41B7}"/>
              </a:ext>
            </a:extLst>
          </p:cNvPr>
          <p:cNvSpPr txBox="1"/>
          <p:nvPr/>
        </p:nvSpPr>
        <p:spPr>
          <a:xfrm>
            <a:off x="316060" y="2205437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7DED050A-6A8F-8CBC-9CF1-E8E0DC00BA68}"/>
              </a:ext>
            </a:extLst>
          </p:cNvPr>
          <p:cNvSpPr/>
          <p:nvPr/>
        </p:nvSpPr>
        <p:spPr>
          <a:xfrm>
            <a:off x="1577219" y="4073758"/>
            <a:ext cx="10359775" cy="1040713"/>
          </a:xfrm>
          <a:prstGeom prst="roundRect">
            <a:avLst>
              <a:gd name="adj" fmla="val 2249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6648E458-2925-775C-3C5A-9E56AF76E978}"/>
              </a:ext>
            </a:extLst>
          </p:cNvPr>
          <p:cNvSpPr/>
          <p:nvPr/>
        </p:nvSpPr>
        <p:spPr>
          <a:xfrm>
            <a:off x="1645171" y="4136242"/>
            <a:ext cx="4414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41F3254-8421-EA94-759C-BF8A5897E532}"/>
              </a:ext>
            </a:extLst>
          </p:cNvPr>
          <p:cNvSpPr/>
          <p:nvPr/>
        </p:nvSpPr>
        <p:spPr>
          <a:xfrm>
            <a:off x="8996637" y="4975745"/>
            <a:ext cx="122161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97F23C4-C366-2CED-4F9F-54FE2D533A77}"/>
              </a:ext>
            </a:extLst>
          </p:cNvPr>
          <p:cNvSpPr/>
          <p:nvPr/>
        </p:nvSpPr>
        <p:spPr>
          <a:xfrm>
            <a:off x="1577219" y="5838486"/>
            <a:ext cx="10357280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EABC08F5-170F-7182-0886-88D2E01DD9FB}"/>
              </a:ext>
            </a:extLst>
          </p:cNvPr>
          <p:cNvSpPr/>
          <p:nvPr/>
        </p:nvSpPr>
        <p:spPr>
          <a:xfrm>
            <a:off x="3362428" y="5921625"/>
            <a:ext cx="122163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4F7BC582-F1BC-C1C4-C429-ACBDA3788441}"/>
              </a:ext>
            </a:extLst>
          </p:cNvPr>
          <p:cNvSpPr/>
          <p:nvPr/>
        </p:nvSpPr>
        <p:spPr>
          <a:xfrm>
            <a:off x="8513651" y="5872718"/>
            <a:ext cx="1217720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0BF35E56-707F-9DAA-0851-907601FFA21A}"/>
              </a:ext>
            </a:extLst>
          </p:cNvPr>
          <p:cNvSpPr/>
          <p:nvPr/>
        </p:nvSpPr>
        <p:spPr>
          <a:xfrm>
            <a:off x="10223188" y="6183975"/>
            <a:ext cx="736912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EB6998B1-D856-947D-2DA2-8DBA425309DF}"/>
              </a:ext>
            </a:extLst>
          </p:cNvPr>
          <p:cNvSpPr/>
          <p:nvPr/>
        </p:nvSpPr>
        <p:spPr>
          <a:xfrm>
            <a:off x="216975" y="1549021"/>
            <a:ext cx="1360244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402A8C21-9BF9-C923-E087-C87ED3E3BC01}"/>
              </a:ext>
            </a:extLst>
          </p:cNvPr>
          <p:cNvSpPr/>
          <p:nvPr/>
        </p:nvSpPr>
        <p:spPr>
          <a:xfrm>
            <a:off x="747546" y="1631101"/>
            <a:ext cx="731669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FF489AB-38A1-AE88-6FC2-6B58B3AC6D96}"/>
              </a:ext>
            </a:extLst>
          </p:cNvPr>
          <p:cNvSpPr txBox="1"/>
          <p:nvPr/>
        </p:nvSpPr>
        <p:spPr>
          <a:xfrm>
            <a:off x="316880" y="163110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773BC723-6C32-F830-78CD-18D47762620E}"/>
              </a:ext>
            </a:extLst>
          </p:cNvPr>
          <p:cNvSpPr/>
          <p:nvPr/>
        </p:nvSpPr>
        <p:spPr>
          <a:xfrm>
            <a:off x="216975" y="3545150"/>
            <a:ext cx="1360244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3A54C33C-A1BE-A356-6C0A-3786F270BB7D}"/>
              </a:ext>
            </a:extLst>
          </p:cNvPr>
          <p:cNvSpPr/>
          <p:nvPr/>
        </p:nvSpPr>
        <p:spPr>
          <a:xfrm>
            <a:off x="747546" y="3651455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BB89F46-9D0D-1CDF-EB44-AE75BA4B592D}"/>
              </a:ext>
            </a:extLst>
          </p:cNvPr>
          <p:cNvSpPr txBox="1"/>
          <p:nvPr/>
        </p:nvSpPr>
        <p:spPr>
          <a:xfrm>
            <a:off x="316880" y="3651455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91E77341-A996-D530-C371-9118AC9859E8}"/>
              </a:ext>
            </a:extLst>
          </p:cNvPr>
          <p:cNvSpPr/>
          <p:nvPr/>
        </p:nvSpPr>
        <p:spPr>
          <a:xfrm>
            <a:off x="216153" y="5300432"/>
            <a:ext cx="1360244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3FB6D015-FC5E-7355-F27B-4615B856047B}"/>
              </a:ext>
            </a:extLst>
          </p:cNvPr>
          <p:cNvSpPr/>
          <p:nvPr/>
        </p:nvSpPr>
        <p:spPr>
          <a:xfrm>
            <a:off x="746724" y="5406737"/>
            <a:ext cx="731669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10B2EFA-5D01-4598-FDC3-30C113FE15F5}"/>
              </a:ext>
            </a:extLst>
          </p:cNvPr>
          <p:cNvSpPr txBox="1"/>
          <p:nvPr/>
        </p:nvSpPr>
        <p:spPr>
          <a:xfrm>
            <a:off x="316058" y="540673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1AB1183B-7025-49E3-F459-820EF000A724}"/>
              </a:ext>
            </a:extLst>
          </p:cNvPr>
          <p:cNvSpPr/>
          <p:nvPr/>
        </p:nvSpPr>
        <p:spPr>
          <a:xfrm>
            <a:off x="6296069" y="4886671"/>
            <a:ext cx="98391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F3BFFE23-6407-C699-B9DE-3751EB3B55D6}"/>
              </a:ext>
            </a:extLst>
          </p:cNvPr>
          <p:cNvSpPr/>
          <p:nvPr/>
        </p:nvSpPr>
        <p:spPr>
          <a:xfrm>
            <a:off x="2869580" y="2045818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539E5750-EA5E-5774-5049-31FC21677253}"/>
              </a:ext>
            </a:extLst>
          </p:cNvPr>
          <p:cNvSpPr/>
          <p:nvPr/>
        </p:nvSpPr>
        <p:spPr>
          <a:xfrm>
            <a:off x="1576398" y="1549021"/>
            <a:ext cx="10362830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76138E9C-FBBE-9D56-0722-B85F1C7205ED}"/>
              </a:ext>
            </a:extLst>
          </p:cNvPr>
          <p:cNvSpPr/>
          <p:nvPr/>
        </p:nvSpPr>
        <p:spPr>
          <a:xfrm>
            <a:off x="1646791" y="1612445"/>
            <a:ext cx="122279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(Device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80EFFD43-B937-1006-B342-3555F1938AA5}"/>
              </a:ext>
            </a:extLst>
          </p:cNvPr>
          <p:cNvSpPr/>
          <p:nvPr/>
        </p:nvSpPr>
        <p:spPr>
          <a:xfrm>
            <a:off x="1578426" y="3544501"/>
            <a:ext cx="10360801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2A426F28-CEA5-35BF-A777-8B0735EE7867}"/>
              </a:ext>
            </a:extLst>
          </p:cNvPr>
          <p:cNvSpPr/>
          <p:nvPr/>
        </p:nvSpPr>
        <p:spPr>
          <a:xfrm>
            <a:off x="1644133" y="3574050"/>
            <a:ext cx="2943930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95A8E4EC-41B0-6B22-DE69-7E0C6A195D42}"/>
              </a:ext>
            </a:extLst>
          </p:cNvPr>
          <p:cNvSpPr/>
          <p:nvPr/>
        </p:nvSpPr>
        <p:spPr>
          <a:xfrm>
            <a:off x="1647575" y="3709627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0EB002EA-4799-E986-AC80-62AE1D268B6B}"/>
              </a:ext>
            </a:extLst>
          </p:cNvPr>
          <p:cNvSpPr/>
          <p:nvPr/>
        </p:nvSpPr>
        <p:spPr>
          <a:xfrm>
            <a:off x="3362428" y="3711719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9C04BEB9-97ED-CFBC-CEA7-FDBD7FC774B7}"/>
              </a:ext>
            </a:extLst>
          </p:cNvPr>
          <p:cNvSpPr/>
          <p:nvPr/>
        </p:nvSpPr>
        <p:spPr>
          <a:xfrm>
            <a:off x="3356078" y="1612445"/>
            <a:ext cx="122150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F756E919-B19A-58CA-D1DB-3BB7E813FD7B}"/>
              </a:ext>
            </a:extLst>
          </p:cNvPr>
          <p:cNvCxnSpPr>
            <a:cxnSpLocks/>
            <a:stCxn id="223" idx="3"/>
            <a:endCxn id="63" idx="1"/>
          </p:cNvCxnSpPr>
          <p:nvPr/>
        </p:nvCxnSpPr>
        <p:spPr>
          <a:xfrm flipV="1">
            <a:off x="3356078" y="1662551"/>
            <a:ext cx="0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文本框 216">
            <a:extLst>
              <a:ext uri="{FF2B5EF4-FFF2-40B4-BE49-F238E27FC236}">
                <a16:creationId xmlns:a16="http://schemas.microsoft.com/office/drawing/2014/main" id="{D0AD8421-EF53-5FD9-7578-3CF716E0BDEA}"/>
              </a:ext>
            </a:extLst>
          </p:cNvPr>
          <p:cNvSpPr txBox="1"/>
          <p:nvPr/>
        </p:nvSpPr>
        <p:spPr>
          <a:xfrm>
            <a:off x="2819867" y="2146841"/>
            <a:ext cx="10644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08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09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圆角矩形 195">
            <a:extLst>
              <a:ext uri="{FF2B5EF4-FFF2-40B4-BE49-F238E27FC236}">
                <a16:creationId xmlns:a16="http://schemas.microsoft.com/office/drawing/2014/main" id="{975FE022-5647-CA90-00FA-24D3146603A5}"/>
              </a:ext>
            </a:extLst>
          </p:cNvPr>
          <p:cNvSpPr/>
          <p:nvPr/>
        </p:nvSpPr>
        <p:spPr>
          <a:xfrm>
            <a:off x="3843556" y="2612570"/>
            <a:ext cx="245409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7" name="直线箭头连接符 196">
            <a:extLst>
              <a:ext uri="{FF2B5EF4-FFF2-40B4-BE49-F238E27FC236}">
                <a16:creationId xmlns:a16="http://schemas.microsoft.com/office/drawing/2014/main" id="{3F0CA8E1-73C6-A1BF-C743-EF4F5643DD5F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3843556" y="1712656"/>
            <a:ext cx="0" cy="971332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线箭头连接符 199">
            <a:extLst>
              <a:ext uri="{FF2B5EF4-FFF2-40B4-BE49-F238E27FC236}">
                <a16:creationId xmlns:a16="http://schemas.microsoft.com/office/drawing/2014/main" id="{EEEA7EF7-0442-91D9-9D79-C0A75B1B8DB4}"/>
              </a:ext>
            </a:extLst>
          </p:cNvPr>
          <p:cNvCxnSpPr>
            <a:cxnSpLocks/>
            <a:stCxn id="196" idx="0"/>
            <a:endCxn id="63" idx="2"/>
          </p:cNvCxnSpPr>
          <p:nvPr/>
        </p:nvCxnSpPr>
        <p:spPr>
          <a:xfrm flipV="1">
            <a:off x="3966261" y="1712656"/>
            <a:ext cx="571" cy="89991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文本框 202">
            <a:extLst>
              <a:ext uri="{FF2B5EF4-FFF2-40B4-BE49-F238E27FC236}">
                <a16:creationId xmlns:a16="http://schemas.microsoft.com/office/drawing/2014/main" id="{7175FF34-D65B-0ABD-6B25-F513FDC01385}"/>
              </a:ext>
            </a:extLst>
          </p:cNvPr>
          <p:cNvSpPr txBox="1"/>
          <p:nvPr/>
        </p:nvSpPr>
        <p:spPr>
          <a:xfrm>
            <a:off x="3793726" y="2724924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1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8PM ~ 12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2AM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DBBD12B3-C97A-CA4A-3147-AC4826CAFDF5}"/>
              </a:ext>
            </a:extLst>
          </p:cNvPr>
          <p:cNvSpPr/>
          <p:nvPr/>
        </p:nvSpPr>
        <p:spPr>
          <a:xfrm>
            <a:off x="4331034" y="2229809"/>
            <a:ext cx="742955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文本框 215">
            <a:extLst>
              <a:ext uri="{FF2B5EF4-FFF2-40B4-BE49-F238E27FC236}">
                <a16:creationId xmlns:a16="http://schemas.microsoft.com/office/drawing/2014/main" id="{324398DB-58E1-C500-3115-79EA0B0F0A8E}"/>
              </a:ext>
            </a:extLst>
          </p:cNvPr>
          <p:cNvSpPr txBox="1"/>
          <p:nvPr/>
        </p:nvSpPr>
        <p:spPr>
          <a:xfrm>
            <a:off x="5012614" y="2319820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5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16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20191C41-E598-CA81-3EED-4E578FDCB826}"/>
              </a:ext>
            </a:extLst>
          </p:cNvPr>
          <p:cNvSpPr/>
          <p:nvPr/>
        </p:nvSpPr>
        <p:spPr>
          <a:xfrm>
            <a:off x="6788027" y="2696428"/>
            <a:ext cx="2951064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" name="圆角矩形 229">
            <a:extLst>
              <a:ext uri="{FF2B5EF4-FFF2-40B4-BE49-F238E27FC236}">
                <a16:creationId xmlns:a16="http://schemas.microsoft.com/office/drawing/2014/main" id="{BDF89212-D187-964A-2E52-9A1D1036272D}"/>
              </a:ext>
            </a:extLst>
          </p:cNvPr>
          <p:cNvSpPr/>
          <p:nvPr/>
        </p:nvSpPr>
        <p:spPr>
          <a:xfrm>
            <a:off x="217983" y="3152667"/>
            <a:ext cx="1360244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预定义流程 230">
            <a:extLst>
              <a:ext uri="{FF2B5EF4-FFF2-40B4-BE49-F238E27FC236}">
                <a16:creationId xmlns:a16="http://schemas.microsoft.com/office/drawing/2014/main" id="{DBB8C58D-4265-4B51-20F5-CFD087801A34}"/>
              </a:ext>
            </a:extLst>
          </p:cNvPr>
          <p:cNvSpPr/>
          <p:nvPr/>
        </p:nvSpPr>
        <p:spPr>
          <a:xfrm>
            <a:off x="748554" y="3204472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17D7BD3A-16B2-1A3A-D06A-0EB296EA25E5}"/>
              </a:ext>
            </a:extLst>
          </p:cNvPr>
          <p:cNvSpPr txBox="1"/>
          <p:nvPr/>
        </p:nvSpPr>
        <p:spPr>
          <a:xfrm>
            <a:off x="317888" y="3204472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圆角矩形 236">
            <a:extLst>
              <a:ext uri="{FF2B5EF4-FFF2-40B4-BE49-F238E27FC236}">
                <a16:creationId xmlns:a16="http://schemas.microsoft.com/office/drawing/2014/main" id="{761AB20A-C2A2-77C0-BF22-0BDADEFDB25F}"/>
              </a:ext>
            </a:extLst>
          </p:cNvPr>
          <p:cNvSpPr/>
          <p:nvPr/>
        </p:nvSpPr>
        <p:spPr>
          <a:xfrm>
            <a:off x="1577422" y="3153593"/>
            <a:ext cx="10359775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ECD23B7D-7A60-8A1D-D9A9-1331B72CE9F9}"/>
              </a:ext>
            </a:extLst>
          </p:cNvPr>
          <p:cNvSpPr/>
          <p:nvPr/>
        </p:nvSpPr>
        <p:spPr>
          <a:xfrm>
            <a:off x="1646791" y="3270944"/>
            <a:ext cx="3427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D5EFC76D-7C50-0904-0CD8-EAB4BADB9417}"/>
              </a:ext>
            </a:extLst>
          </p:cNvPr>
          <p:cNvSpPr/>
          <p:nvPr/>
        </p:nvSpPr>
        <p:spPr>
          <a:xfrm>
            <a:off x="5074560" y="3270944"/>
            <a:ext cx="675650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圆角矩形 239">
            <a:extLst>
              <a:ext uri="{FF2B5EF4-FFF2-40B4-BE49-F238E27FC236}">
                <a16:creationId xmlns:a16="http://schemas.microsoft.com/office/drawing/2014/main" id="{695927CD-EBAC-C406-F316-C2375C13B83A}"/>
              </a:ext>
            </a:extLst>
          </p:cNvPr>
          <p:cNvSpPr/>
          <p:nvPr/>
        </p:nvSpPr>
        <p:spPr>
          <a:xfrm>
            <a:off x="1574724" y="5299783"/>
            <a:ext cx="10359775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EE4C05D7-CACC-DC1B-708C-020FA6E08137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10960100" y="5548435"/>
            <a:ext cx="0" cy="684447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E170629D-7CAC-B4C7-FA70-A8E1F12C0416}"/>
              </a:ext>
            </a:extLst>
          </p:cNvPr>
          <p:cNvSpPr/>
          <p:nvPr/>
        </p:nvSpPr>
        <p:spPr>
          <a:xfrm>
            <a:off x="1638085" y="5499528"/>
            <a:ext cx="932201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D1693735-A4C1-6D88-6947-66362CADC71C}"/>
              </a:ext>
            </a:extLst>
          </p:cNvPr>
          <p:cNvSpPr txBox="1"/>
          <p:nvPr/>
        </p:nvSpPr>
        <p:spPr>
          <a:xfrm>
            <a:off x="11259364" y="5406737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664DE46B-36D7-16AF-3754-E45F5CAC3D59}"/>
              </a:ext>
            </a:extLst>
          </p:cNvPr>
          <p:cNvSpPr/>
          <p:nvPr/>
        </p:nvSpPr>
        <p:spPr>
          <a:xfrm>
            <a:off x="10223187" y="4976858"/>
            <a:ext cx="1718069" cy="97812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BE8B0342-8C57-1E59-CDB9-6DEF783771F3}"/>
              </a:ext>
            </a:extLst>
          </p:cNvPr>
          <p:cNvSpPr/>
          <p:nvPr/>
        </p:nvSpPr>
        <p:spPr>
          <a:xfrm>
            <a:off x="3356078" y="4666753"/>
            <a:ext cx="122880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HA Test (Paa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C685B438-D5CB-489A-E4CE-0A4862B97298}"/>
              </a:ext>
            </a:extLst>
          </p:cNvPr>
          <p:cNvSpPr/>
          <p:nvPr/>
        </p:nvSpPr>
        <p:spPr>
          <a:xfrm>
            <a:off x="1638083" y="2046207"/>
            <a:ext cx="122506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A13F3F82-C633-61D6-C3E4-A447F3B3BD72}"/>
              </a:ext>
            </a:extLst>
          </p:cNvPr>
          <p:cNvCxnSpPr>
            <a:cxnSpLocks/>
            <a:stCxn id="8" idx="3"/>
            <a:endCxn id="223" idx="1"/>
          </p:cNvCxnSpPr>
          <p:nvPr/>
        </p:nvCxnSpPr>
        <p:spPr>
          <a:xfrm flipH="1">
            <a:off x="2869580" y="1662551"/>
            <a:ext cx="1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>
            <a:extLst>
              <a:ext uri="{FF2B5EF4-FFF2-40B4-BE49-F238E27FC236}">
                <a16:creationId xmlns:a16="http://schemas.microsoft.com/office/drawing/2014/main" id="{A453A36E-1B2A-94D1-43A2-0421039C76A0}"/>
              </a:ext>
            </a:extLst>
          </p:cNvPr>
          <p:cNvSpPr/>
          <p:nvPr/>
        </p:nvSpPr>
        <p:spPr>
          <a:xfrm>
            <a:off x="3352525" y="2349097"/>
            <a:ext cx="501750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6B1361D2-BE3B-354D-9852-20D8419EE773}"/>
              </a:ext>
            </a:extLst>
          </p:cNvPr>
          <p:cNvSpPr/>
          <p:nvPr/>
        </p:nvSpPr>
        <p:spPr>
          <a:xfrm>
            <a:off x="3965787" y="2349097"/>
            <a:ext cx="364262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AECED946-C60F-2097-2321-ECCDE0D2E819}"/>
              </a:ext>
            </a:extLst>
          </p:cNvPr>
          <p:cNvSpPr/>
          <p:nvPr/>
        </p:nvSpPr>
        <p:spPr>
          <a:xfrm>
            <a:off x="4339860" y="3880891"/>
            <a:ext cx="244816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Hi Post &amp; Gomo (BAU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E4084DC7-9849-0FB9-0318-F6A909AA9225}"/>
              </a:ext>
            </a:extLst>
          </p:cNvPr>
          <p:cNvSpPr/>
          <p:nvPr/>
        </p:nvSpPr>
        <p:spPr>
          <a:xfrm>
            <a:off x="6057917" y="4232367"/>
            <a:ext cx="238152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FC6AFCBB-2E88-F5C2-EB17-A1D47952E3BD}"/>
              </a:ext>
            </a:extLst>
          </p:cNvPr>
          <p:cNvSpPr/>
          <p:nvPr/>
        </p:nvSpPr>
        <p:spPr>
          <a:xfrm>
            <a:off x="6301820" y="4355939"/>
            <a:ext cx="97972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CA3C2576-974C-E2FF-26AD-C8BC3C57D4F7}"/>
              </a:ext>
            </a:extLst>
          </p:cNvPr>
          <p:cNvSpPr/>
          <p:nvPr/>
        </p:nvSpPr>
        <p:spPr>
          <a:xfrm>
            <a:off x="7279986" y="4490439"/>
            <a:ext cx="49240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F3FDB0E4-6D24-920B-C5A7-D51CC55416E3}"/>
              </a:ext>
            </a:extLst>
          </p:cNvPr>
          <p:cNvSpPr/>
          <p:nvPr/>
        </p:nvSpPr>
        <p:spPr>
          <a:xfrm>
            <a:off x="7778297" y="4633782"/>
            <a:ext cx="72815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直线箭头连接符 47">
            <a:extLst>
              <a:ext uri="{FF2B5EF4-FFF2-40B4-BE49-F238E27FC236}">
                <a16:creationId xmlns:a16="http://schemas.microsoft.com/office/drawing/2014/main" id="{29FC70FD-9ACC-8178-3CA1-8D847614ADE8}"/>
              </a:ext>
            </a:extLst>
          </p:cNvPr>
          <p:cNvCxnSpPr>
            <a:cxnSpLocks/>
          </p:cNvCxnSpPr>
          <p:nvPr/>
        </p:nvCxnSpPr>
        <p:spPr>
          <a:xfrm flipH="1">
            <a:off x="7311292" y="4173724"/>
            <a:ext cx="270071" cy="2807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DD5C501F-8750-F35A-17C9-65B74D120E36}"/>
              </a:ext>
            </a:extLst>
          </p:cNvPr>
          <p:cNvSpPr/>
          <p:nvPr/>
        </p:nvSpPr>
        <p:spPr>
          <a:xfrm>
            <a:off x="5081629" y="5345971"/>
            <a:ext cx="729319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8D6BC455-770B-DCB5-C307-34E81B112615}"/>
              </a:ext>
            </a:extLst>
          </p:cNvPr>
          <p:cNvSpPr/>
          <p:nvPr/>
        </p:nvSpPr>
        <p:spPr>
          <a:xfrm>
            <a:off x="7281556" y="4770731"/>
            <a:ext cx="122161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圆角矩形 52">
            <a:extLst>
              <a:ext uri="{FF2B5EF4-FFF2-40B4-BE49-F238E27FC236}">
                <a16:creationId xmlns:a16="http://schemas.microsoft.com/office/drawing/2014/main" id="{68B95F04-77CD-565B-E8D7-2DC9E4FC4337}"/>
              </a:ext>
            </a:extLst>
          </p:cNvPr>
          <p:cNvSpPr/>
          <p:nvPr/>
        </p:nvSpPr>
        <p:spPr>
          <a:xfrm>
            <a:off x="8996637" y="4840942"/>
            <a:ext cx="122161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圆角矩形 54">
            <a:extLst>
              <a:ext uri="{FF2B5EF4-FFF2-40B4-BE49-F238E27FC236}">
                <a16:creationId xmlns:a16="http://schemas.microsoft.com/office/drawing/2014/main" id="{DC13E7C8-C860-05B6-BE7A-81D46EA06E8B}"/>
              </a:ext>
            </a:extLst>
          </p:cNvPr>
          <p:cNvSpPr/>
          <p:nvPr/>
        </p:nvSpPr>
        <p:spPr>
          <a:xfrm>
            <a:off x="8513651" y="4752604"/>
            <a:ext cx="480752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" name="直线箭头连接符 56">
            <a:extLst>
              <a:ext uri="{FF2B5EF4-FFF2-40B4-BE49-F238E27FC236}">
                <a16:creationId xmlns:a16="http://schemas.microsoft.com/office/drawing/2014/main" id="{E1299C48-EE05-E9F4-DF24-D671D77763AB}"/>
              </a:ext>
            </a:extLst>
          </p:cNvPr>
          <p:cNvCxnSpPr>
            <a:cxnSpLocks/>
            <a:stCxn id="209" idx="3"/>
          </p:cNvCxnSpPr>
          <p:nvPr/>
        </p:nvCxnSpPr>
        <p:spPr>
          <a:xfrm>
            <a:off x="5073989" y="2301227"/>
            <a:ext cx="7640" cy="183501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圆角矩形 191">
            <a:extLst>
              <a:ext uri="{FF2B5EF4-FFF2-40B4-BE49-F238E27FC236}">
                <a16:creationId xmlns:a16="http://schemas.microsoft.com/office/drawing/2014/main" id="{86086FF7-1506-0C06-0C9B-A1A14EB8B06F}"/>
              </a:ext>
            </a:extLst>
          </p:cNvPr>
          <p:cNvSpPr/>
          <p:nvPr/>
        </p:nvSpPr>
        <p:spPr>
          <a:xfrm>
            <a:off x="4582385" y="1612007"/>
            <a:ext cx="2205642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4" name="直线箭头连接符 193">
            <a:extLst>
              <a:ext uri="{FF2B5EF4-FFF2-40B4-BE49-F238E27FC236}">
                <a16:creationId xmlns:a16="http://schemas.microsoft.com/office/drawing/2014/main" id="{E0B77DFB-AA29-E523-B9F7-912E7B75A061}"/>
              </a:ext>
            </a:extLst>
          </p:cNvPr>
          <p:cNvCxnSpPr>
            <a:cxnSpLocks/>
            <a:stCxn id="192" idx="3"/>
            <a:endCxn id="226" idx="1"/>
          </p:cNvCxnSpPr>
          <p:nvPr/>
        </p:nvCxnSpPr>
        <p:spPr>
          <a:xfrm>
            <a:off x="6788027" y="1662113"/>
            <a:ext cx="0" cy="1084421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文本框 200">
            <a:extLst>
              <a:ext uri="{FF2B5EF4-FFF2-40B4-BE49-F238E27FC236}">
                <a16:creationId xmlns:a16="http://schemas.microsoft.com/office/drawing/2014/main" id="{2A95C0D9-2AEE-19B0-13B2-1C19E9CD14DD}"/>
              </a:ext>
            </a:extLst>
          </p:cNvPr>
          <p:cNvSpPr txBox="1"/>
          <p:nvPr/>
        </p:nvSpPr>
        <p:spPr>
          <a:xfrm>
            <a:off x="7135752" y="4064135"/>
            <a:ext cx="101502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600" b="1" dirty="0"/>
              <a:t>Security Version Ready</a:t>
            </a:r>
            <a:endParaRPr kumimoji="1" lang="zh-SG" altLang="en-US" sz="600" b="1" dirty="0"/>
          </a:p>
        </p:txBody>
      </p:sp>
      <p:sp>
        <p:nvSpPr>
          <p:cNvPr id="208" name="圆角矩形 207">
            <a:extLst>
              <a:ext uri="{FF2B5EF4-FFF2-40B4-BE49-F238E27FC236}">
                <a16:creationId xmlns:a16="http://schemas.microsoft.com/office/drawing/2014/main" id="{0E538F01-4EE8-6908-8F4C-0FB2E3FDE072}"/>
              </a:ext>
            </a:extLst>
          </p:cNvPr>
          <p:cNvSpPr/>
          <p:nvPr/>
        </p:nvSpPr>
        <p:spPr>
          <a:xfrm>
            <a:off x="5076427" y="2463300"/>
            <a:ext cx="1701930" cy="1002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 Sanity test (Delivery Team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4B4E23F-6240-B15F-94AE-AAC288FE5460}"/>
              </a:ext>
            </a:extLst>
          </p:cNvPr>
          <p:cNvSpPr/>
          <p:nvPr/>
        </p:nvSpPr>
        <p:spPr>
          <a:xfrm>
            <a:off x="1516713" y="1064126"/>
            <a:ext cx="3800223" cy="5550569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74BB2FBB-F49C-8020-507B-552518DC441D}"/>
              </a:ext>
            </a:extLst>
          </p:cNvPr>
          <p:cNvSpPr/>
          <p:nvPr/>
        </p:nvSpPr>
        <p:spPr>
          <a:xfrm rot="19805959">
            <a:off x="4928336" y="2724763"/>
            <a:ext cx="608057" cy="207618"/>
          </a:xfrm>
          <a:prstGeom prst="roundRect">
            <a:avLst/>
          </a:prstGeom>
          <a:solidFill>
            <a:srgbClr val="0083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altLang="zh-SG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SG" altLang="zh-SG" sz="7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tially </a:t>
            </a:r>
            <a:r>
              <a:rPr lang="en-SG" altLang="zh-SG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SG" altLang="zh-SG" sz="7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mplete</a:t>
            </a:r>
            <a:endParaRPr kumimoji="1" lang="zh-SG" altLang="en-US" sz="7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949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87B2B-CF69-2FF5-EA49-81B8C8121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FDBBF105-10DB-73A6-3A78-510D5AB15828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39C2C337-B545-AC6B-F2C4-1A6602C00F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127751"/>
              </p:ext>
            </p:extLst>
          </p:nvPr>
        </p:nvGraphicFramePr>
        <p:xfrm>
          <a:off x="-1047666" y="758281"/>
          <a:ext cx="26243280" cy="5759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7809186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8568929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3219548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5617088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55503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3724576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66848405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723247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3983628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338302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1595913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52924632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5788146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5979791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968617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4373511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5064502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3972263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1034902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56755853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6469573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66356928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9871576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89559647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364889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08933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568119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1380555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573497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2090499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56112865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25671246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77607767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1414298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72221895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6862113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025537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2893765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6205056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0487383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9712865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41768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654781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5335850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5743118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5242506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8234989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7039714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7563032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252215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4206482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9178307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86698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16514267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1557280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67097072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5878918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8648557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3866345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1993671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39734536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24128724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14030780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4520193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4195066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704570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77245267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7106984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2420672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0565836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4967729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2927496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842883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4787380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57982279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627717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5809019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361652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4835037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6055438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755721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4760691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66815584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5168739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9014982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61044367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4892151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0815782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10813169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5984403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9267300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3463782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40221007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2437152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3868653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66478703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7286496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9270935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2830812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60851476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7436275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81243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4797701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6010818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51010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2152525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343165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8365004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069021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4759898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6190072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871275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16101139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2974254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9761052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1777133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719119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3917770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15093670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77775110"/>
                    </a:ext>
                  </a:extLst>
                </a:gridCol>
              </a:tblGrid>
              <a:tr h="0"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gridSpan="31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gridSpan="27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b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37" name="圆角矩形 36">
            <a:extLst>
              <a:ext uri="{FF2B5EF4-FFF2-40B4-BE49-F238E27FC236}">
                <a16:creationId xmlns:a16="http://schemas.microsoft.com/office/drawing/2014/main" id="{C13A6DE9-1DB7-C306-40B8-3BECBB92FA2C}"/>
              </a:ext>
            </a:extLst>
          </p:cNvPr>
          <p:cNvSpPr/>
          <p:nvPr/>
        </p:nvSpPr>
        <p:spPr>
          <a:xfrm>
            <a:off x="-1102758" y="2008459"/>
            <a:ext cx="14212325" cy="953817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B4E4DC6C-7574-D3F2-0BF4-F3AE5740D807}"/>
              </a:ext>
            </a:extLst>
          </p:cNvPr>
          <p:cNvSpPr/>
          <p:nvPr/>
        </p:nvSpPr>
        <p:spPr>
          <a:xfrm>
            <a:off x="-1044261" y="2524829"/>
            <a:ext cx="1229466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26949C69-07F4-1EA3-A9B2-48DDE6170995}"/>
              </a:ext>
            </a:extLst>
          </p:cNvPr>
          <p:cNvSpPr/>
          <p:nvPr/>
        </p:nvSpPr>
        <p:spPr>
          <a:xfrm>
            <a:off x="-1102758" y="4073758"/>
            <a:ext cx="14210917" cy="1040713"/>
          </a:xfrm>
          <a:prstGeom prst="roundRect">
            <a:avLst>
              <a:gd name="adj" fmla="val 2249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1550F1A4-CBBC-045F-C9A2-5AF3979B7DC0}"/>
              </a:ext>
            </a:extLst>
          </p:cNvPr>
          <p:cNvSpPr/>
          <p:nvPr/>
        </p:nvSpPr>
        <p:spPr>
          <a:xfrm>
            <a:off x="-1042609" y="4136243"/>
            <a:ext cx="4375980" cy="9208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9E39A9E7-9AF4-C070-B41B-68D4AA51B71D}"/>
              </a:ext>
            </a:extLst>
          </p:cNvPr>
          <p:cNvSpPr/>
          <p:nvPr/>
        </p:nvSpPr>
        <p:spPr>
          <a:xfrm>
            <a:off x="8119123" y="4803626"/>
            <a:ext cx="353947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1B7F2C21-69BE-F072-2B8D-D109B182B3A2}"/>
              </a:ext>
            </a:extLst>
          </p:cNvPr>
          <p:cNvSpPr/>
          <p:nvPr/>
        </p:nvSpPr>
        <p:spPr>
          <a:xfrm>
            <a:off x="-1110562" y="5838486"/>
            <a:ext cx="14244097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24ED6662-D5D1-3091-8F22-EA722AF03BA7}"/>
              </a:ext>
            </a:extLst>
          </p:cNvPr>
          <p:cNvSpPr/>
          <p:nvPr/>
        </p:nvSpPr>
        <p:spPr>
          <a:xfrm>
            <a:off x="674648" y="5921625"/>
            <a:ext cx="122163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BF9E8EF2-9EFB-CE6E-73D9-290194F03CC5}"/>
              </a:ext>
            </a:extLst>
          </p:cNvPr>
          <p:cNvSpPr/>
          <p:nvPr/>
        </p:nvSpPr>
        <p:spPr>
          <a:xfrm>
            <a:off x="8114522" y="6035855"/>
            <a:ext cx="3544074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E1784DDA-AE17-8C77-039A-DF8086E46313}"/>
              </a:ext>
            </a:extLst>
          </p:cNvPr>
          <p:cNvSpPr/>
          <p:nvPr/>
        </p:nvSpPr>
        <p:spPr>
          <a:xfrm>
            <a:off x="12086769" y="6153918"/>
            <a:ext cx="102280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2438AD5E-FB19-B321-698B-CCB0F7B51C99}"/>
              </a:ext>
            </a:extLst>
          </p:cNvPr>
          <p:cNvSpPr/>
          <p:nvPr/>
        </p:nvSpPr>
        <p:spPr>
          <a:xfrm>
            <a:off x="4784181" y="4915348"/>
            <a:ext cx="104169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AE70D11F-49F7-4E86-73FF-07B945749751}"/>
              </a:ext>
            </a:extLst>
          </p:cNvPr>
          <p:cNvSpPr/>
          <p:nvPr/>
        </p:nvSpPr>
        <p:spPr>
          <a:xfrm>
            <a:off x="181800" y="2045818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55A2203C-23B1-0503-306B-55F365B2F086}"/>
              </a:ext>
            </a:extLst>
          </p:cNvPr>
          <p:cNvSpPr/>
          <p:nvPr/>
        </p:nvSpPr>
        <p:spPr>
          <a:xfrm>
            <a:off x="-1102757" y="1549021"/>
            <a:ext cx="5465764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BFF0B22D-2A2F-02F9-7CF3-7FD847527330}"/>
              </a:ext>
            </a:extLst>
          </p:cNvPr>
          <p:cNvSpPr/>
          <p:nvPr/>
        </p:nvSpPr>
        <p:spPr>
          <a:xfrm>
            <a:off x="-1040989" y="1612445"/>
            <a:ext cx="122279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(Device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1CE072F1-0676-5E02-D608-553C3D4835B1}"/>
              </a:ext>
            </a:extLst>
          </p:cNvPr>
          <p:cNvSpPr/>
          <p:nvPr/>
        </p:nvSpPr>
        <p:spPr>
          <a:xfrm>
            <a:off x="-1073371" y="3543205"/>
            <a:ext cx="14212325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A52FD6FF-4A0C-6A0B-A4F1-BD5802A1EF69}"/>
              </a:ext>
            </a:extLst>
          </p:cNvPr>
          <p:cNvSpPr/>
          <p:nvPr/>
        </p:nvSpPr>
        <p:spPr>
          <a:xfrm>
            <a:off x="-1043647" y="3574050"/>
            <a:ext cx="2943930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EE502A41-7D3D-EC0B-5B7B-632CB6F90B86}"/>
              </a:ext>
            </a:extLst>
          </p:cNvPr>
          <p:cNvSpPr/>
          <p:nvPr/>
        </p:nvSpPr>
        <p:spPr>
          <a:xfrm>
            <a:off x="-1040205" y="3709627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80737FFF-2173-344D-1FF2-BA0A31DD12BD}"/>
              </a:ext>
            </a:extLst>
          </p:cNvPr>
          <p:cNvSpPr/>
          <p:nvPr/>
        </p:nvSpPr>
        <p:spPr>
          <a:xfrm>
            <a:off x="674648" y="3711719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04B2AD1D-B9FF-1A94-B107-B1D4BDE2708E}"/>
              </a:ext>
            </a:extLst>
          </p:cNvPr>
          <p:cNvSpPr/>
          <p:nvPr/>
        </p:nvSpPr>
        <p:spPr>
          <a:xfrm>
            <a:off x="668298" y="1612445"/>
            <a:ext cx="122150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D0BF60CB-7C49-A250-ED58-42167F6FE875}"/>
              </a:ext>
            </a:extLst>
          </p:cNvPr>
          <p:cNvCxnSpPr>
            <a:cxnSpLocks/>
            <a:stCxn id="223" idx="3"/>
            <a:endCxn id="63" idx="1"/>
          </p:cNvCxnSpPr>
          <p:nvPr/>
        </p:nvCxnSpPr>
        <p:spPr>
          <a:xfrm flipV="1">
            <a:off x="668298" y="1662551"/>
            <a:ext cx="0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文本框 216">
            <a:extLst>
              <a:ext uri="{FF2B5EF4-FFF2-40B4-BE49-F238E27FC236}">
                <a16:creationId xmlns:a16="http://schemas.microsoft.com/office/drawing/2014/main" id="{33993359-240E-4018-535B-C0A5BC675336}"/>
              </a:ext>
            </a:extLst>
          </p:cNvPr>
          <p:cNvSpPr txBox="1"/>
          <p:nvPr/>
        </p:nvSpPr>
        <p:spPr>
          <a:xfrm>
            <a:off x="132087" y="2146841"/>
            <a:ext cx="10644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08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09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圆角矩形 195">
            <a:extLst>
              <a:ext uri="{FF2B5EF4-FFF2-40B4-BE49-F238E27FC236}">
                <a16:creationId xmlns:a16="http://schemas.microsoft.com/office/drawing/2014/main" id="{9EEF287B-2F89-8E9C-85C3-480FD1FAF174}"/>
              </a:ext>
            </a:extLst>
          </p:cNvPr>
          <p:cNvSpPr/>
          <p:nvPr/>
        </p:nvSpPr>
        <p:spPr>
          <a:xfrm>
            <a:off x="1155776" y="2612570"/>
            <a:ext cx="245409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7" name="直线箭头连接符 196">
            <a:extLst>
              <a:ext uri="{FF2B5EF4-FFF2-40B4-BE49-F238E27FC236}">
                <a16:creationId xmlns:a16="http://schemas.microsoft.com/office/drawing/2014/main" id="{5A25306F-9270-6B88-1242-7AEDB016BC21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1155776" y="1712656"/>
            <a:ext cx="0" cy="971332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线箭头连接符 199">
            <a:extLst>
              <a:ext uri="{FF2B5EF4-FFF2-40B4-BE49-F238E27FC236}">
                <a16:creationId xmlns:a16="http://schemas.microsoft.com/office/drawing/2014/main" id="{2E7A89E8-F972-C313-BE17-2E880021DB0C}"/>
              </a:ext>
            </a:extLst>
          </p:cNvPr>
          <p:cNvCxnSpPr>
            <a:cxnSpLocks/>
            <a:stCxn id="196" idx="0"/>
            <a:endCxn id="63" idx="2"/>
          </p:cNvCxnSpPr>
          <p:nvPr/>
        </p:nvCxnSpPr>
        <p:spPr>
          <a:xfrm flipV="1">
            <a:off x="1278481" y="1712656"/>
            <a:ext cx="571" cy="89991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文本框 202">
            <a:extLst>
              <a:ext uri="{FF2B5EF4-FFF2-40B4-BE49-F238E27FC236}">
                <a16:creationId xmlns:a16="http://schemas.microsoft.com/office/drawing/2014/main" id="{5DBF5AE1-53A6-49F7-1424-F53B239EBDF2}"/>
              </a:ext>
            </a:extLst>
          </p:cNvPr>
          <p:cNvSpPr txBox="1"/>
          <p:nvPr/>
        </p:nvSpPr>
        <p:spPr>
          <a:xfrm>
            <a:off x="1105946" y="2724924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1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8PM ~ 12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2AM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D9C32308-EB12-76A8-672D-08590E47BC85}"/>
              </a:ext>
            </a:extLst>
          </p:cNvPr>
          <p:cNvSpPr/>
          <p:nvPr/>
        </p:nvSpPr>
        <p:spPr>
          <a:xfrm>
            <a:off x="1643254" y="2229809"/>
            <a:ext cx="742955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文本框 215">
            <a:extLst>
              <a:ext uri="{FF2B5EF4-FFF2-40B4-BE49-F238E27FC236}">
                <a16:creationId xmlns:a16="http://schemas.microsoft.com/office/drawing/2014/main" id="{79B851C7-CF0F-4B8A-F41B-8F3CB9AF7F8E}"/>
              </a:ext>
            </a:extLst>
          </p:cNvPr>
          <p:cNvSpPr txBox="1"/>
          <p:nvPr/>
        </p:nvSpPr>
        <p:spPr>
          <a:xfrm>
            <a:off x="2324834" y="2319820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5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16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034578CF-F89F-A1FF-C797-7A7AA5EED8E5}"/>
              </a:ext>
            </a:extLst>
          </p:cNvPr>
          <p:cNvSpPr/>
          <p:nvPr/>
        </p:nvSpPr>
        <p:spPr>
          <a:xfrm>
            <a:off x="4365445" y="2696428"/>
            <a:ext cx="2685866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圆角矩形 236">
            <a:extLst>
              <a:ext uri="{FF2B5EF4-FFF2-40B4-BE49-F238E27FC236}">
                <a16:creationId xmlns:a16="http://schemas.microsoft.com/office/drawing/2014/main" id="{3BD0984A-5764-5DCA-7356-405FD5B7F87F}"/>
              </a:ext>
            </a:extLst>
          </p:cNvPr>
          <p:cNvSpPr/>
          <p:nvPr/>
        </p:nvSpPr>
        <p:spPr>
          <a:xfrm>
            <a:off x="-1102758" y="3153593"/>
            <a:ext cx="14210917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7E85B201-82D5-96E1-C8AB-C50691DDDF35}"/>
              </a:ext>
            </a:extLst>
          </p:cNvPr>
          <p:cNvSpPr/>
          <p:nvPr/>
        </p:nvSpPr>
        <p:spPr>
          <a:xfrm>
            <a:off x="-1040989" y="3270944"/>
            <a:ext cx="3427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A9D5C2EB-54F2-6AE1-3846-ACA06486795E}"/>
              </a:ext>
            </a:extLst>
          </p:cNvPr>
          <p:cNvSpPr/>
          <p:nvPr/>
        </p:nvSpPr>
        <p:spPr>
          <a:xfrm>
            <a:off x="2386780" y="3270944"/>
            <a:ext cx="675650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圆角矩形 239">
            <a:extLst>
              <a:ext uri="{FF2B5EF4-FFF2-40B4-BE49-F238E27FC236}">
                <a16:creationId xmlns:a16="http://schemas.microsoft.com/office/drawing/2014/main" id="{FD710D60-5EC9-A9D1-100C-50424499B7E8}"/>
              </a:ext>
            </a:extLst>
          </p:cNvPr>
          <p:cNvSpPr/>
          <p:nvPr/>
        </p:nvSpPr>
        <p:spPr>
          <a:xfrm>
            <a:off x="-1113057" y="5299783"/>
            <a:ext cx="14244097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9615E8E7-1CA9-8C61-A965-5FC9404E5C3E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13109575" y="5548435"/>
            <a:ext cx="0" cy="654390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C76144C1-7095-EC2D-AF02-60A8CC4F14F9}"/>
              </a:ext>
            </a:extLst>
          </p:cNvPr>
          <p:cNvSpPr/>
          <p:nvPr/>
        </p:nvSpPr>
        <p:spPr>
          <a:xfrm>
            <a:off x="-1049695" y="5499528"/>
            <a:ext cx="14159270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D5F4DB7B-5CC3-1BAF-9D0D-8E2DF0BB9F9A}"/>
              </a:ext>
            </a:extLst>
          </p:cNvPr>
          <p:cNvSpPr txBox="1"/>
          <p:nvPr/>
        </p:nvSpPr>
        <p:spPr>
          <a:xfrm>
            <a:off x="8482128" y="5572384"/>
            <a:ext cx="9735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8480A5AA-0FB5-9EAA-1B81-6B8379C36556}"/>
              </a:ext>
            </a:extLst>
          </p:cNvPr>
          <p:cNvSpPr/>
          <p:nvPr/>
        </p:nvSpPr>
        <p:spPr>
          <a:xfrm>
            <a:off x="11658596" y="4950252"/>
            <a:ext cx="1718069" cy="97812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3696E3D7-1DDF-D2BD-4C79-0BEAACBAE71E}"/>
              </a:ext>
            </a:extLst>
          </p:cNvPr>
          <p:cNvSpPr/>
          <p:nvPr/>
        </p:nvSpPr>
        <p:spPr>
          <a:xfrm>
            <a:off x="668298" y="4666753"/>
            <a:ext cx="122880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HA Test (Paa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C6C12FCC-A1F6-CD7E-BDD8-56ACE9980CE4}"/>
              </a:ext>
            </a:extLst>
          </p:cNvPr>
          <p:cNvSpPr/>
          <p:nvPr/>
        </p:nvSpPr>
        <p:spPr>
          <a:xfrm>
            <a:off x="-1049697" y="2046207"/>
            <a:ext cx="122506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BFAA91E1-6B1A-53BE-68DF-1A81FDECC0DE}"/>
              </a:ext>
            </a:extLst>
          </p:cNvPr>
          <p:cNvCxnSpPr>
            <a:cxnSpLocks/>
            <a:stCxn id="8" idx="3"/>
            <a:endCxn id="223" idx="1"/>
          </p:cNvCxnSpPr>
          <p:nvPr/>
        </p:nvCxnSpPr>
        <p:spPr>
          <a:xfrm flipH="1">
            <a:off x="181800" y="1662551"/>
            <a:ext cx="1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>
            <a:extLst>
              <a:ext uri="{FF2B5EF4-FFF2-40B4-BE49-F238E27FC236}">
                <a16:creationId xmlns:a16="http://schemas.microsoft.com/office/drawing/2014/main" id="{459AF485-141E-D822-4C9E-9BB328C94C59}"/>
              </a:ext>
            </a:extLst>
          </p:cNvPr>
          <p:cNvSpPr/>
          <p:nvPr/>
        </p:nvSpPr>
        <p:spPr>
          <a:xfrm>
            <a:off x="664745" y="2349097"/>
            <a:ext cx="501750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5495BA17-2780-B70A-0CED-AAE0D70E9B21}"/>
              </a:ext>
            </a:extLst>
          </p:cNvPr>
          <p:cNvSpPr/>
          <p:nvPr/>
        </p:nvSpPr>
        <p:spPr>
          <a:xfrm>
            <a:off x="1278007" y="2349097"/>
            <a:ext cx="364262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CF5EE180-B010-EC92-6C4C-8090E3BD40DD}"/>
              </a:ext>
            </a:extLst>
          </p:cNvPr>
          <p:cNvSpPr/>
          <p:nvPr/>
        </p:nvSpPr>
        <p:spPr>
          <a:xfrm>
            <a:off x="1888190" y="3714642"/>
            <a:ext cx="9770406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Hi Post &amp; Gomo (BAU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C53576B1-7433-0311-678C-F48C5BE10D1B}"/>
              </a:ext>
            </a:extLst>
          </p:cNvPr>
          <p:cNvSpPr/>
          <p:nvPr/>
        </p:nvSpPr>
        <p:spPr>
          <a:xfrm>
            <a:off x="3329728" y="4248529"/>
            <a:ext cx="20036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7F71142E-0643-2A2C-1A35-2F066F1E128F}"/>
              </a:ext>
            </a:extLst>
          </p:cNvPr>
          <p:cNvSpPr/>
          <p:nvPr/>
        </p:nvSpPr>
        <p:spPr>
          <a:xfrm>
            <a:off x="3530094" y="4379387"/>
            <a:ext cx="63024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FD8D3978-CB64-6891-2F65-3FF96CD1FC69}"/>
              </a:ext>
            </a:extLst>
          </p:cNvPr>
          <p:cNvSpPr/>
          <p:nvPr/>
        </p:nvSpPr>
        <p:spPr>
          <a:xfrm>
            <a:off x="4160337" y="4500549"/>
            <a:ext cx="20765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ECC6AFE9-F188-6E5F-2E73-15EFCFBFC6F1}"/>
              </a:ext>
            </a:extLst>
          </p:cNvPr>
          <p:cNvSpPr/>
          <p:nvPr/>
        </p:nvSpPr>
        <p:spPr>
          <a:xfrm>
            <a:off x="4781116" y="4633782"/>
            <a:ext cx="103755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直线箭头连接符 47">
            <a:extLst>
              <a:ext uri="{FF2B5EF4-FFF2-40B4-BE49-F238E27FC236}">
                <a16:creationId xmlns:a16="http://schemas.microsoft.com/office/drawing/2014/main" id="{6A1D4D77-F603-1761-D022-A92AF5488379}"/>
              </a:ext>
            </a:extLst>
          </p:cNvPr>
          <p:cNvCxnSpPr>
            <a:cxnSpLocks/>
          </p:cNvCxnSpPr>
          <p:nvPr/>
        </p:nvCxnSpPr>
        <p:spPr>
          <a:xfrm flipH="1">
            <a:off x="4161622" y="3967632"/>
            <a:ext cx="270071" cy="2807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2EFB3ADB-57D5-84C6-BF99-0097E74B5EB9}"/>
              </a:ext>
            </a:extLst>
          </p:cNvPr>
          <p:cNvSpPr/>
          <p:nvPr/>
        </p:nvSpPr>
        <p:spPr>
          <a:xfrm>
            <a:off x="2700593" y="3883289"/>
            <a:ext cx="215408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 ZC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7576103F-C4C9-58E3-4001-ED49C29FD6B3}"/>
              </a:ext>
            </a:extLst>
          </p:cNvPr>
          <p:cNvSpPr/>
          <p:nvPr/>
        </p:nvSpPr>
        <p:spPr>
          <a:xfrm>
            <a:off x="7062709" y="5852909"/>
            <a:ext cx="1056414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圆角矩形 54">
            <a:extLst>
              <a:ext uri="{FF2B5EF4-FFF2-40B4-BE49-F238E27FC236}">
                <a16:creationId xmlns:a16="http://schemas.microsoft.com/office/drawing/2014/main" id="{536672C0-A9BD-AF14-B360-26C2DE7EA4BD}"/>
              </a:ext>
            </a:extLst>
          </p:cNvPr>
          <p:cNvSpPr/>
          <p:nvPr/>
        </p:nvSpPr>
        <p:spPr>
          <a:xfrm>
            <a:off x="7081565" y="4681130"/>
            <a:ext cx="103755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" name="直线箭头连接符 56">
            <a:extLst>
              <a:ext uri="{FF2B5EF4-FFF2-40B4-BE49-F238E27FC236}">
                <a16:creationId xmlns:a16="http://schemas.microsoft.com/office/drawing/2014/main" id="{B4FF11A6-9A19-4FFB-B1B9-F235EA5E48D7}"/>
              </a:ext>
            </a:extLst>
          </p:cNvPr>
          <p:cNvCxnSpPr>
            <a:cxnSpLocks/>
            <a:stCxn id="209" idx="3"/>
          </p:cNvCxnSpPr>
          <p:nvPr/>
        </p:nvCxnSpPr>
        <p:spPr>
          <a:xfrm>
            <a:off x="2386209" y="2301227"/>
            <a:ext cx="7640" cy="183501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圆角矩形 191">
            <a:extLst>
              <a:ext uri="{FF2B5EF4-FFF2-40B4-BE49-F238E27FC236}">
                <a16:creationId xmlns:a16="http://schemas.microsoft.com/office/drawing/2014/main" id="{D01B4E73-925C-4DC1-49CB-C93CD50FDB3F}"/>
              </a:ext>
            </a:extLst>
          </p:cNvPr>
          <p:cNvSpPr/>
          <p:nvPr/>
        </p:nvSpPr>
        <p:spPr>
          <a:xfrm>
            <a:off x="1894605" y="1612007"/>
            <a:ext cx="247084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4" name="直线箭头连接符 193">
            <a:extLst>
              <a:ext uri="{FF2B5EF4-FFF2-40B4-BE49-F238E27FC236}">
                <a16:creationId xmlns:a16="http://schemas.microsoft.com/office/drawing/2014/main" id="{8C4A7FF5-CF5A-5DD7-C514-3CC7571CD03A}"/>
              </a:ext>
            </a:extLst>
          </p:cNvPr>
          <p:cNvCxnSpPr>
            <a:cxnSpLocks/>
            <a:stCxn id="192" idx="3"/>
            <a:endCxn id="226" idx="1"/>
          </p:cNvCxnSpPr>
          <p:nvPr/>
        </p:nvCxnSpPr>
        <p:spPr>
          <a:xfrm>
            <a:off x="4365445" y="1662113"/>
            <a:ext cx="0" cy="1084421"/>
          </a:xfrm>
          <a:prstGeom prst="straightConnector1">
            <a:avLst/>
          </a:prstGeom>
          <a:ln w="19050" cmpd="tri">
            <a:solidFill>
              <a:schemeClr val="accent3"/>
            </a:solidFill>
            <a:prstDash val="solid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文本框 200">
            <a:extLst>
              <a:ext uri="{FF2B5EF4-FFF2-40B4-BE49-F238E27FC236}">
                <a16:creationId xmlns:a16="http://schemas.microsoft.com/office/drawing/2014/main" id="{C193BFC5-7919-EF94-1630-42B6D5F52886}"/>
              </a:ext>
            </a:extLst>
          </p:cNvPr>
          <p:cNvSpPr txBox="1"/>
          <p:nvPr/>
        </p:nvSpPr>
        <p:spPr>
          <a:xfrm>
            <a:off x="3986082" y="3858043"/>
            <a:ext cx="101502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600" b="1" dirty="0"/>
              <a:t>Security Version Ready</a:t>
            </a:r>
            <a:endParaRPr kumimoji="1" lang="zh-SG" altLang="en-US" sz="600" b="1" dirty="0"/>
          </a:p>
        </p:txBody>
      </p:sp>
      <p:sp>
        <p:nvSpPr>
          <p:cNvPr id="208" name="圆角矩形 207">
            <a:extLst>
              <a:ext uri="{FF2B5EF4-FFF2-40B4-BE49-F238E27FC236}">
                <a16:creationId xmlns:a16="http://schemas.microsoft.com/office/drawing/2014/main" id="{FF876E95-B1AA-DCEF-0DE8-F92104724431}"/>
              </a:ext>
            </a:extLst>
          </p:cNvPr>
          <p:cNvSpPr/>
          <p:nvPr/>
        </p:nvSpPr>
        <p:spPr>
          <a:xfrm>
            <a:off x="2386209" y="2449091"/>
            <a:ext cx="1976798" cy="1002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 Sanity test (Delivery Team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64483A8-C622-5CE4-6DE3-0945A9C87D0B}"/>
              </a:ext>
            </a:extLst>
          </p:cNvPr>
          <p:cNvSpPr/>
          <p:nvPr/>
        </p:nvSpPr>
        <p:spPr>
          <a:xfrm>
            <a:off x="-1076431" y="1072780"/>
            <a:ext cx="3600310" cy="5550569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A32648F6-1152-1A33-03F6-0CBB298489C5}"/>
              </a:ext>
            </a:extLst>
          </p:cNvPr>
          <p:cNvSpPr/>
          <p:nvPr/>
        </p:nvSpPr>
        <p:spPr>
          <a:xfrm rot="19805959">
            <a:off x="2240556" y="2724763"/>
            <a:ext cx="608057" cy="207618"/>
          </a:xfrm>
          <a:prstGeom prst="roundRect">
            <a:avLst/>
          </a:prstGeom>
          <a:solidFill>
            <a:srgbClr val="0083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altLang="zh-SG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SG" altLang="zh-SG" sz="7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tially </a:t>
            </a:r>
            <a:r>
              <a:rPr lang="en-SG" altLang="zh-SG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SG" altLang="zh-SG" sz="7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mplete</a:t>
            </a:r>
            <a:endParaRPr kumimoji="1" lang="zh-SG" altLang="en-US" sz="7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00" name="组合 299">
            <a:extLst>
              <a:ext uri="{FF2B5EF4-FFF2-40B4-BE49-F238E27FC236}">
                <a16:creationId xmlns:a16="http://schemas.microsoft.com/office/drawing/2014/main" id="{B0DC312A-228E-1D93-FE6C-6E9CE9AD2CED}"/>
              </a:ext>
            </a:extLst>
          </p:cNvPr>
          <p:cNvGrpSpPr/>
          <p:nvPr/>
        </p:nvGrpSpPr>
        <p:grpSpPr>
          <a:xfrm>
            <a:off x="-15507" y="1549021"/>
            <a:ext cx="1362074" cy="4843671"/>
            <a:chOff x="78274" y="1549021"/>
            <a:chExt cx="1362074" cy="4843671"/>
          </a:xfrm>
        </p:grpSpPr>
        <p:sp>
          <p:nvSpPr>
            <p:cNvPr id="258" name="圆角矩形 257">
              <a:extLst>
                <a:ext uri="{FF2B5EF4-FFF2-40B4-BE49-F238E27FC236}">
                  <a16:creationId xmlns:a16="http://schemas.microsoft.com/office/drawing/2014/main" id="{EE32484F-1737-8276-5F07-BA3ECD7C7A80}"/>
                </a:ext>
              </a:extLst>
            </p:cNvPr>
            <p:cNvSpPr/>
            <p:nvPr/>
          </p:nvSpPr>
          <p:spPr>
            <a:xfrm>
              <a:off x="79098" y="4073758"/>
              <a:ext cx="1360243" cy="1040713"/>
            </a:xfrm>
            <a:prstGeom prst="roundRect">
              <a:avLst>
                <a:gd name="adj" fmla="val 0"/>
              </a:avLst>
            </a:prstGeom>
            <a:solidFill>
              <a:srgbClr val="FFF0DF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9" name="预定义流程 258">
              <a:extLst>
                <a:ext uri="{FF2B5EF4-FFF2-40B4-BE49-F238E27FC236}">
                  <a16:creationId xmlns:a16="http://schemas.microsoft.com/office/drawing/2014/main" id="{D2E1DBC6-A6E7-3650-05CF-25B359B2D4E0}"/>
                </a:ext>
              </a:extLst>
            </p:cNvPr>
            <p:cNvSpPr/>
            <p:nvPr/>
          </p:nvSpPr>
          <p:spPr>
            <a:xfrm>
              <a:off x="609669" y="4393513"/>
              <a:ext cx="731669" cy="359423"/>
            </a:xfrm>
            <a:prstGeom prst="flowChartPredefinedProcess">
              <a:avLst/>
            </a:prstGeom>
            <a:solidFill>
              <a:srgbClr val="FF9300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8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w Non-Prod Env</a:t>
              </a:r>
              <a:r>
                <a:rPr kumimoji="1" lang="en-US" altLang="zh-SG" sz="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AKS)</a:t>
              </a:r>
              <a:endParaRPr kumimoji="1" lang="zh-SG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0" name="文本框 259">
              <a:extLst>
                <a:ext uri="{FF2B5EF4-FFF2-40B4-BE49-F238E27FC236}">
                  <a16:creationId xmlns:a16="http://schemas.microsoft.com/office/drawing/2014/main" id="{5AAAD522-19B4-F567-3E10-E85E0FCFBA0D}"/>
                </a:ext>
              </a:extLst>
            </p:cNvPr>
            <p:cNvSpPr txBox="1"/>
            <p:nvPr/>
          </p:nvSpPr>
          <p:spPr>
            <a:xfrm>
              <a:off x="179003" y="4393510"/>
              <a:ext cx="406741" cy="359425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Nprd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1" name="圆角矩形 260">
              <a:extLst>
                <a:ext uri="{FF2B5EF4-FFF2-40B4-BE49-F238E27FC236}">
                  <a16:creationId xmlns:a16="http://schemas.microsoft.com/office/drawing/2014/main" id="{F6969240-8722-5E2F-647F-AB9AF10BFF7A}"/>
                </a:ext>
              </a:extLst>
            </p:cNvPr>
            <p:cNvSpPr/>
            <p:nvPr/>
          </p:nvSpPr>
          <p:spPr>
            <a:xfrm>
              <a:off x="79098" y="5838485"/>
              <a:ext cx="1360244" cy="554207"/>
            </a:xfrm>
            <a:prstGeom prst="roundRect">
              <a:avLst>
                <a:gd name="adj" fmla="val 0"/>
              </a:avLst>
            </a:prstGeom>
            <a:solidFill>
              <a:srgbClr val="FEECEF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2" name="预定义流程 261">
              <a:extLst>
                <a:ext uri="{FF2B5EF4-FFF2-40B4-BE49-F238E27FC236}">
                  <a16:creationId xmlns:a16="http://schemas.microsoft.com/office/drawing/2014/main" id="{54789797-9B44-FD03-79ED-3A3A8D0AED30}"/>
                </a:ext>
              </a:extLst>
            </p:cNvPr>
            <p:cNvSpPr/>
            <p:nvPr/>
          </p:nvSpPr>
          <p:spPr>
            <a:xfrm>
              <a:off x="617418" y="5943717"/>
              <a:ext cx="731669" cy="330212"/>
            </a:xfrm>
            <a:prstGeom prst="flowChartPredefinedProcess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8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w Prod Env</a:t>
              </a:r>
              <a:r>
                <a:rPr kumimoji="1" lang="en-US" altLang="zh-SG" sz="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AKS)</a:t>
              </a:r>
              <a:endParaRPr kumimoji="1" lang="zh-SG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3" name="文本框 262">
              <a:extLst>
                <a:ext uri="{FF2B5EF4-FFF2-40B4-BE49-F238E27FC236}">
                  <a16:creationId xmlns:a16="http://schemas.microsoft.com/office/drawing/2014/main" id="{A6EB1B5A-D238-F6AF-A8BF-7209235BB937}"/>
                </a:ext>
              </a:extLst>
            </p:cNvPr>
            <p:cNvSpPr txBox="1"/>
            <p:nvPr/>
          </p:nvSpPr>
          <p:spPr>
            <a:xfrm>
              <a:off x="186752" y="5943717"/>
              <a:ext cx="406741" cy="330212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Prod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4" name="圆角矩形 263">
              <a:extLst>
                <a:ext uri="{FF2B5EF4-FFF2-40B4-BE49-F238E27FC236}">
                  <a16:creationId xmlns:a16="http://schemas.microsoft.com/office/drawing/2014/main" id="{A8B087AE-C107-FEFC-2E44-49FCF8C59A59}"/>
                </a:ext>
              </a:extLst>
            </p:cNvPr>
            <p:cNvSpPr/>
            <p:nvPr/>
          </p:nvSpPr>
          <p:spPr>
            <a:xfrm>
              <a:off x="78276" y="2001569"/>
              <a:ext cx="1360244" cy="953704"/>
            </a:xfrm>
            <a:prstGeom prst="roundRect">
              <a:avLst>
                <a:gd name="adj" fmla="val 0"/>
              </a:avLst>
            </a:prstGeom>
            <a:solidFill>
              <a:srgbClr val="FFFFE2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5" name="预定义流程 264">
              <a:extLst>
                <a:ext uri="{FF2B5EF4-FFF2-40B4-BE49-F238E27FC236}">
                  <a16:creationId xmlns:a16="http://schemas.microsoft.com/office/drawing/2014/main" id="{342FA08E-BC07-0D9D-91C1-27D237AFC1B8}"/>
                </a:ext>
              </a:extLst>
            </p:cNvPr>
            <p:cNvSpPr/>
            <p:nvPr/>
          </p:nvSpPr>
          <p:spPr>
            <a:xfrm>
              <a:off x="608847" y="2205437"/>
              <a:ext cx="731669" cy="375010"/>
            </a:xfrm>
            <a:prstGeom prst="flowChartPredefinedProcess">
              <a:avLst/>
            </a:prstGeom>
            <a:solidFill>
              <a:srgbClr val="FFFF00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8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w TESTING2 Env</a:t>
              </a:r>
              <a:r>
                <a:rPr kumimoji="1" lang="en-US" altLang="zh-SG" sz="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AKS)</a:t>
              </a:r>
              <a:endParaRPr kumimoji="1" lang="zh-SG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6" name="文本框 265">
              <a:extLst>
                <a:ext uri="{FF2B5EF4-FFF2-40B4-BE49-F238E27FC236}">
                  <a16:creationId xmlns:a16="http://schemas.microsoft.com/office/drawing/2014/main" id="{DD3916F3-D3A6-6D2B-9464-42FC64FEA47A}"/>
                </a:ext>
              </a:extLst>
            </p:cNvPr>
            <p:cNvSpPr txBox="1"/>
            <p:nvPr/>
          </p:nvSpPr>
          <p:spPr>
            <a:xfrm>
              <a:off x="178181" y="2205437"/>
              <a:ext cx="406741" cy="375010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EV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7" name="圆角矩形 266">
              <a:extLst>
                <a:ext uri="{FF2B5EF4-FFF2-40B4-BE49-F238E27FC236}">
                  <a16:creationId xmlns:a16="http://schemas.microsoft.com/office/drawing/2014/main" id="{A8CAF5EE-8B3F-20D9-57FA-E9F4BC711B63}"/>
                </a:ext>
              </a:extLst>
            </p:cNvPr>
            <p:cNvSpPr/>
            <p:nvPr/>
          </p:nvSpPr>
          <p:spPr>
            <a:xfrm>
              <a:off x="79096" y="1549021"/>
              <a:ext cx="1360244" cy="389792"/>
            </a:xfrm>
            <a:prstGeom prst="roundRect">
              <a:avLst>
                <a:gd name="adj" fmla="val 0"/>
              </a:avLst>
            </a:prstGeom>
            <a:solidFill>
              <a:srgbClr val="FFFFE2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8" name="预定义流程 267">
              <a:extLst>
                <a:ext uri="{FF2B5EF4-FFF2-40B4-BE49-F238E27FC236}">
                  <a16:creationId xmlns:a16="http://schemas.microsoft.com/office/drawing/2014/main" id="{0C31D7C8-A130-CE61-83FB-F85036E0B8A7}"/>
                </a:ext>
              </a:extLst>
            </p:cNvPr>
            <p:cNvSpPr/>
            <p:nvPr/>
          </p:nvSpPr>
          <p:spPr>
            <a:xfrm>
              <a:off x="609667" y="1631101"/>
              <a:ext cx="731669" cy="232724"/>
            </a:xfrm>
            <a:prstGeom prst="flowChartPredefinedProcess">
              <a:avLst/>
            </a:prstGeom>
            <a:solidFill>
              <a:srgbClr val="FFFF00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ING</a:t>
              </a:r>
              <a:r>
                <a:rPr kumimoji="1" lang="zh-CN" altLang="en-US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kumimoji="1" lang="zh-SG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9" name="文本框 268">
              <a:extLst>
                <a:ext uri="{FF2B5EF4-FFF2-40B4-BE49-F238E27FC236}">
                  <a16:creationId xmlns:a16="http://schemas.microsoft.com/office/drawing/2014/main" id="{AC556852-30C8-3588-4394-4C3EEC1695C0}"/>
                </a:ext>
              </a:extLst>
            </p:cNvPr>
            <p:cNvSpPr txBox="1"/>
            <p:nvPr/>
          </p:nvSpPr>
          <p:spPr>
            <a:xfrm>
              <a:off x="179001" y="1631101"/>
              <a:ext cx="406741" cy="232724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EV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0" name="圆角矩形 269">
              <a:extLst>
                <a:ext uri="{FF2B5EF4-FFF2-40B4-BE49-F238E27FC236}">
                  <a16:creationId xmlns:a16="http://schemas.microsoft.com/office/drawing/2014/main" id="{7502B1B4-4BD5-C5D6-6DD0-561BD4934117}"/>
                </a:ext>
              </a:extLst>
            </p:cNvPr>
            <p:cNvSpPr/>
            <p:nvPr/>
          </p:nvSpPr>
          <p:spPr>
            <a:xfrm>
              <a:off x="79096" y="3545150"/>
              <a:ext cx="1360244" cy="485437"/>
            </a:xfrm>
            <a:prstGeom prst="roundRect">
              <a:avLst>
                <a:gd name="adj" fmla="val 0"/>
              </a:avLst>
            </a:prstGeom>
            <a:solidFill>
              <a:srgbClr val="FFF0DF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1" name="预定义流程 270">
              <a:extLst>
                <a:ext uri="{FF2B5EF4-FFF2-40B4-BE49-F238E27FC236}">
                  <a16:creationId xmlns:a16="http://schemas.microsoft.com/office/drawing/2014/main" id="{C0B7759B-659A-F476-F62E-1B603B1C17E8}"/>
                </a:ext>
              </a:extLst>
            </p:cNvPr>
            <p:cNvSpPr/>
            <p:nvPr/>
          </p:nvSpPr>
          <p:spPr>
            <a:xfrm>
              <a:off x="609667" y="3651455"/>
              <a:ext cx="731669" cy="232724"/>
            </a:xfrm>
            <a:prstGeom prst="flowChartPredefinedProcess">
              <a:avLst/>
            </a:prstGeom>
            <a:solidFill>
              <a:srgbClr val="FF9300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on-Prod</a:t>
              </a:r>
              <a:endParaRPr kumimoji="1" lang="zh-SG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2" name="文本框 271">
              <a:extLst>
                <a:ext uri="{FF2B5EF4-FFF2-40B4-BE49-F238E27FC236}">
                  <a16:creationId xmlns:a16="http://schemas.microsoft.com/office/drawing/2014/main" id="{ABB3BD48-0E3C-4441-4E8B-CD348860FD7E}"/>
                </a:ext>
              </a:extLst>
            </p:cNvPr>
            <p:cNvSpPr txBox="1"/>
            <p:nvPr/>
          </p:nvSpPr>
          <p:spPr>
            <a:xfrm>
              <a:off x="179001" y="3651455"/>
              <a:ext cx="406741" cy="232724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Nprd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3" name="圆角矩形 272">
              <a:extLst>
                <a:ext uri="{FF2B5EF4-FFF2-40B4-BE49-F238E27FC236}">
                  <a16:creationId xmlns:a16="http://schemas.microsoft.com/office/drawing/2014/main" id="{3A4072BC-6043-DFF7-1A39-8E32AD1AE6A0}"/>
                </a:ext>
              </a:extLst>
            </p:cNvPr>
            <p:cNvSpPr/>
            <p:nvPr/>
          </p:nvSpPr>
          <p:spPr>
            <a:xfrm>
              <a:off x="78274" y="5300432"/>
              <a:ext cx="1360244" cy="485437"/>
            </a:xfrm>
            <a:prstGeom prst="roundRect">
              <a:avLst>
                <a:gd name="adj" fmla="val 0"/>
              </a:avLst>
            </a:prstGeom>
            <a:solidFill>
              <a:srgbClr val="FEECEF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4" name="预定义流程 273">
              <a:extLst>
                <a:ext uri="{FF2B5EF4-FFF2-40B4-BE49-F238E27FC236}">
                  <a16:creationId xmlns:a16="http://schemas.microsoft.com/office/drawing/2014/main" id="{80D4D15A-4F7A-5B5C-878B-5028A436B6AA}"/>
                </a:ext>
              </a:extLst>
            </p:cNvPr>
            <p:cNvSpPr/>
            <p:nvPr/>
          </p:nvSpPr>
          <p:spPr>
            <a:xfrm>
              <a:off x="608845" y="5406737"/>
              <a:ext cx="731669" cy="232724"/>
            </a:xfrm>
            <a:prstGeom prst="flowChartPredefinedProcess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d</a:t>
              </a:r>
              <a:endParaRPr kumimoji="1" lang="zh-SG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6" name="文本框 275">
              <a:extLst>
                <a:ext uri="{FF2B5EF4-FFF2-40B4-BE49-F238E27FC236}">
                  <a16:creationId xmlns:a16="http://schemas.microsoft.com/office/drawing/2014/main" id="{6434EB01-24FE-69EC-DE09-ED9FA3033716}"/>
                </a:ext>
              </a:extLst>
            </p:cNvPr>
            <p:cNvSpPr txBox="1"/>
            <p:nvPr/>
          </p:nvSpPr>
          <p:spPr>
            <a:xfrm>
              <a:off x="178179" y="5406737"/>
              <a:ext cx="406741" cy="232724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Prod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7" name="圆角矩形 276">
              <a:extLst>
                <a:ext uri="{FF2B5EF4-FFF2-40B4-BE49-F238E27FC236}">
                  <a16:creationId xmlns:a16="http://schemas.microsoft.com/office/drawing/2014/main" id="{3110A9A8-85D7-B94F-C91B-3D4DB74D4109}"/>
                </a:ext>
              </a:extLst>
            </p:cNvPr>
            <p:cNvSpPr/>
            <p:nvPr/>
          </p:nvSpPr>
          <p:spPr>
            <a:xfrm>
              <a:off x="80104" y="3152667"/>
              <a:ext cx="1360244" cy="339141"/>
            </a:xfrm>
            <a:prstGeom prst="roundRect">
              <a:avLst>
                <a:gd name="adj" fmla="val 0"/>
              </a:avLst>
            </a:prstGeom>
            <a:solidFill>
              <a:srgbClr val="FFF0DF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rtlCol="0" anchor="ctr"/>
            <a:lstStyle/>
            <a:p>
              <a:endParaRPr kumimoji="1" lang="zh-SG" altLang="en-US" sz="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8" name="预定义流程 277">
              <a:extLst>
                <a:ext uri="{FF2B5EF4-FFF2-40B4-BE49-F238E27FC236}">
                  <a16:creationId xmlns:a16="http://schemas.microsoft.com/office/drawing/2014/main" id="{A9DC1465-DE59-225B-FDE7-622B3FADFFDD}"/>
                </a:ext>
              </a:extLst>
            </p:cNvPr>
            <p:cNvSpPr/>
            <p:nvPr/>
          </p:nvSpPr>
          <p:spPr>
            <a:xfrm>
              <a:off x="610675" y="3204472"/>
              <a:ext cx="731669" cy="232724"/>
            </a:xfrm>
            <a:prstGeom prst="flowChartPredefinedProcess">
              <a:avLst/>
            </a:prstGeom>
            <a:solidFill>
              <a:srgbClr val="FF9300"/>
            </a:solidFill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/>
            <a:lstStyle/>
            <a:p>
              <a:pPr algn="ctr"/>
              <a:r>
                <a:rPr kumimoji="1" lang="en-US" altLang="zh-SG" sz="7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gration</a:t>
              </a:r>
              <a:endParaRPr kumimoji="1" lang="zh-SG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9" name="文本框 278">
              <a:extLst>
                <a:ext uri="{FF2B5EF4-FFF2-40B4-BE49-F238E27FC236}">
                  <a16:creationId xmlns:a16="http://schemas.microsoft.com/office/drawing/2014/main" id="{51C6CF3D-F0DD-3398-B8BB-C50F55F5FA66}"/>
                </a:ext>
              </a:extLst>
            </p:cNvPr>
            <p:cNvSpPr txBox="1"/>
            <p:nvPr/>
          </p:nvSpPr>
          <p:spPr>
            <a:xfrm>
              <a:off x="180009" y="3204472"/>
              <a:ext cx="406741" cy="232724"/>
            </a:xfrm>
            <a:prstGeom prst="rect">
              <a:avLst/>
            </a:prstGeom>
            <a:solidFill>
              <a:srgbClr val="2E2E3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7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Nprd</a:t>
              </a:r>
              <a:r>
                <a:rPr kumimoji="1" lang="zh-CN" alt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LZ</a:t>
              </a:r>
              <a:endParaRPr kumimoji="1" lang="zh-SG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82" name="圆角矩形 281">
            <a:extLst>
              <a:ext uri="{FF2B5EF4-FFF2-40B4-BE49-F238E27FC236}">
                <a16:creationId xmlns:a16="http://schemas.microsoft.com/office/drawing/2014/main" id="{1BE2CB98-72C8-5DF5-4FF7-6C56723C027C}"/>
              </a:ext>
            </a:extLst>
          </p:cNvPr>
          <p:cNvSpPr/>
          <p:nvPr/>
        </p:nvSpPr>
        <p:spPr>
          <a:xfrm>
            <a:off x="5825871" y="4185510"/>
            <a:ext cx="20036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up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B77674D0-29AE-8B85-D5A0-2582D1B385C0}"/>
              </a:ext>
            </a:extLst>
          </p:cNvPr>
          <p:cNvSpPr/>
          <p:nvPr/>
        </p:nvSpPr>
        <p:spPr>
          <a:xfrm>
            <a:off x="6031916" y="4313063"/>
            <a:ext cx="42301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Setup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EE7F3CD5-C52D-BF64-8F2E-4D1E7C101B57}"/>
              </a:ext>
            </a:extLst>
          </p:cNvPr>
          <p:cNvSpPr/>
          <p:nvPr/>
        </p:nvSpPr>
        <p:spPr>
          <a:xfrm>
            <a:off x="6454935" y="4432893"/>
            <a:ext cx="20036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81780865-C034-339F-703A-1629D1995547}"/>
              </a:ext>
            </a:extLst>
          </p:cNvPr>
          <p:cNvSpPr/>
          <p:nvPr/>
        </p:nvSpPr>
        <p:spPr>
          <a:xfrm>
            <a:off x="6661286" y="4549455"/>
            <a:ext cx="42028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01" name="直线箭头连接符 300">
            <a:extLst>
              <a:ext uri="{FF2B5EF4-FFF2-40B4-BE49-F238E27FC236}">
                <a16:creationId xmlns:a16="http://schemas.microsoft.com/office/drawing/2014/main" id="{5ED4C3E6-2B0A-D140-7FA7-732B1913DC63}"/>
              </a:ext>
            </a:extLst>
          </p:cNvPr>
          <p:cNvCxnSpPr>
            <a:cxnSpLocks/>
            <a:stCxn id="19" idx="3"/>
            <a:endCxn id="29" idx="3"/>
          </p:cNvCxnSpPr>
          <p:nvPr/>
        </p:nvCxnSpPr>
        <p:spPr>
          <a:xfrm>
            <a:off x="11658596" y="3764748"/>
            <a:ext cx="4" cy="1087785"/>
          </a:xfrm>
          <a:prstGeom prst="straightConnector1">
            <a:avLst/>
          </a:prstGeom>
          <a:ln w="19050" cmpd="tri">
            <a:solidFill>
              <a:srgbClr val="FF0000"/>
            </a:solidFill>
            <a:prstDash val="solid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4" name="圆角矩形 303">
            <a:extLst>
              <a:ext uri="{FF2B5EF4-FFF2-40B4-BE49-F238E27FC236}">
                <a16:creationId xmlns:a16="http://schemas.microsoft.com/office/drawing/2014/main" id="{C7825D24-CE31-4B13-688F-C63D05D76851}"/>
              </a:ext>
            </a:extLst>
          </p:cNvPr>
          <p:cNvSpPr/>
          <p:nvPr/>
        </p:nvSpPr>
        <p:spPr>
          <a:xfrm>
            <a:off x="3534893" y="4725951"/>
            <a:ext cx="21540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5" name="圆角矩形 304">
            <a:extLst>
              <a:ext uri="{FF2B5EF4-FFF2-40B4-BE49-F238E27FC236}">
                <a16:creationId xmlns:a16="http://schemas.microsoft.com/office/drawing/2014/main" id="{BDE58B7C-739D-06FD-D246-BA75AD87D3C2}"/>
              </a:ext>
            </a:extLst>
          </p:cNvPr>
          <p:cNvSpPr/>
          <p:nvPr/>
        </p:nvSpPr>
        <p:spPr>
          <a:xfrm>
            <a:off x="6655301" y="4924167"/>
            <a:ext cx="42028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400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0A798-B2D5-7EDE-1722-9DAD911306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extLst>
              <a:ext uri="{FF2B5EF4-FFF2-40B4-BE49-F238E27FC236}">
                <a16:creationId xmlns:a16="http://schemas.microsoft.com/office/drawing/2014/main" id="{A4F8684E-70BA-5D79-6AE5-96AE1492AAE6}"/>
              </a:ext>
            </a:extLst>
          </p:cNvPr>
          <p:cNvSpPr/>
          <p:nvPr/>
        </p:nvSpPr>
        <p:spPr>
          <a:xfrm>
            <a:off x="2235148" y="1125377"/>
            <a:ext cx="9640393" cy="1801090"/>
          </a:xfrm>
          <a:prstGeom prst="rect">
            <a:avLst/>
          </a:prstGeom>
          <a:solidFill>
            <a:srgbClr val="FFE4CA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55" name="标题 2">
            <a:extLst>
              <a:ext uri="{FF2B5EF4-FFF2-40B4-BE49-F238E27FC236}">
                <a16:creationId xmlns:a16="http://schemas.microsoft.com/office/drawing/2014/main" id="{93D264C8-F1A3-EAE5-9802-F9A7E1018431}"/>
              </a:ext>
            </a:extLst>
          </p:cNvPr>
          <p:cNvSpPr txBox="1">
            <a:spLocks/>
          </p:cNvSpPr>
          <p:nvPr/>
        </p:nvSpPr>
        <p:spPr>
          <a:xfrm>
            <a:off x="123647" y="215617"/>
            <a:ext cx="7896403" cy="4596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Fus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Product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Environment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Migration </a:t>
            </a:r>
            <a:r>
              <a:rPr lang="en-US" altLang="zh-CN" sz="2000" dirty="0">
                <a:solidFill>
                  <a:srgbClr val="2E2E32"/>
                </a:solidFill>
                <a:latin typeface="DIN Round Offc Pro"/>
                <a:cs typeface="Helvetica Neue"/>
              </a:rPr>
              <a:t>(Before)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7F90664F-A516-94F5-DC74-B76F9679AC44}"/>
              </a:ext>
            </a:extLst>
          </p:cNvPr>
          <p:cNvSpPr/>
          <p:nvPr/>
        </p:nvSpPr>
        <p:spPr>
          <a:xfrm>
            <a:off x="2820597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6C4933D0-D357-9368-5A46-DE8AF5D5A388}"/>
              </a:ext>
            </a:extLst>
          </p:cNvPr>
          <p:cNvSpPr/>
          <p:nvPr/>
        </p:nvSpPr>
        <p:spPr>
          <a:xfrm>
            <a:off x="2820597" y="4440383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11" name="圆柱体 10">
            <a:extLst>
              <a:ext uri="{FF2B5EF4-FFF2-40B4-BE49-F238E27FC236}">
                <a16:creationId xmlns:a16="http://schemas.microsoft.com/office/drawing/2014/main" id="{2C5032B1-2867-60BA-01D7-BBBF7B71E8D8}"/>
              </a:ext>
            </a:extLst>
          </p:cNvPr>
          <p:cNvSpPr/>
          <p:nvPr/>
        </p:nvSpPr>
        <p:spPr>
          <a:xfrm>
            <a:off x="7719104" y="1330037"/>
            <a:ext cx="1122219" cy="1288472"/>
          </a:xfrm>
          <a:prstGeom prst="can">
            <a:avLst/>
          </a:prstGeom>
          <a:solidFill>
            <a:srgbClr val="F0193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DDC00715-9F93-3CF8-53BD-A508E3C51077}"/>
              </a:ext>
            </a:extLst>
          </p:cNvPr>
          <p:cNvSpPr/>
          <p:nvPr/>
        </p:nvSpPr>
        <p:spPr>
          <a:xfrm>
            <a:off x="9160056" y="1330037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6" name="圆柱体 15">
            <a:extLst>
              <a:ext uri="{FF2B5EF4-FFF2-40B4-BE49-F238E27FC236}">
                <a16:creationId xmlns:a16="http://schemas.microsoft.com/office/drawing/2014/main" id="{7EF0518F-E48C-5349-63AE-C40E11B51EEE}"/>
              </a:ext>
            </a:extLst>
          </p:cNvPr>
          <p:cNvSpPr/>
          <p:nvPr/>
        </p:nvSpPr>
        <p:spPr>
          <a:xfrm>
            <a:off x="7719103" y="4433456"/>
            <a:ext cx="1122219" cy="1288472"/>
          </a:xfrm>
          <a:prstGeom prst="can">
            <a:avLst/>
          </a:prstGeom>
          <a:solidFill>
            <a:srgbClr val="00B050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AB202D0E-EE0E-9B82-63BD-8BF139395124}"/>
              </a:ext>
            </a:extLst>
          </p:cNvPr>
          <p:cNvSpPr/>
          <p:nvPr/>
        </p:nvSpPr>
        <p:spPr>
          <a:xfrm>
            <a:off x="9160056" y="4440383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ln w="12700">
            <a:solidFill>
              <a:schemeClr val="accent1">
                <a:shade val="15000"/>
              </a:schemeClr>
            </a:solidFill>
            <a:prstDash val="dash"/>
          </a:ln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C684B989-6FD8-BFF0-5A26-AFE4B1F49653}"/>
              </a:ext>
            </a:extLst>
          </p:cNvPr>
          <p:cNvSpPr/>
          <p:nvPr/>
        </p:nvSpPr>
        <p:spPr>
          <a:xfrm>
            <a:off x="1421287" y="2549236"/>
            <a:ext cx="595746" cy="1129147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LB</a:t>
            </a:r>
            <a:endParaRPr kumimoji="1" lang="zh-SG" altLang="en-US" dirty="0"/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9BF0B37D-08A2-AF03-C8A2-5571EC7A68C2}"/>
              </a:ext>
            </a:extLst>
          </p:cNvPr>
          <p:cNvSpPr/>
          <p:nvPr/>
        </p:nvSpPr>
        <p:spPr>
          <a:xfrm>
            <a:off x="3718063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2C6CE8A1-2ECA-6497-8390-F805810CD3DE}"/>
              </a:ext>
            </a:extLst>
          </p:cNvPr>
          <p:cNvSpPr/>
          <p:nvPr/>
        </p:nvSpPr>
        <p:spPr>
          <a:xfrm>
            <a:off x="4615529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600" b="1" dirty="0"/>
              <a:t>Mid</a:t>
            </a:r>
            <a:r>
              <a:rPr kumimoji="1" lang="en-US" altLang="zh-SG" sz="16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56A24D7A-976A-0D60-B5D0-FAA8D8F7E40F}"/>
              </a:ext>
            </a:extLst>
          </p:cNvPr>
          <p:cNvSpPr/>
          <p:nvPr/>
        </p:nvSpPr>
        <p:spPr>
          <a:xfrm>
            <a:off x="3718064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657DD7DC-9585-781D-DE22-ACC558E12F0F}"/>
              </a:ext>
            </a:extLst>
          </p:cNvPr>
          <p:cNvSpPr/>
          <p:nvPr/>
        </p:nvSpPr>
        <p:spPr>
          <a:xfrm>
            <a:off x="4615530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Mid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cxnSp>
        <p:nvCxnSpPr>
          <p:cNvPr id="25" name="肘形连接符 24">
            <a:extLst>
              <a:ext uri="{FF2B5EF4-FFF2-40B4-BE49-F238E27FC236}">
                <a16:creationId xmlns:a16="http://schemas.microsoft.com/office/drawing/2014/main" id="{82A9158D-DC0E-2632-B069-3CB9579F7F85}"/>
              </a:ext>
            </a:extLst>
          </p:cNvPr>
          <p:cNvCxnSpPr>
            <a:cxnSpLocks/>
            <a:stCxn id="19" idx="3"/>
            <a:endCxn id="7" idx="1"/>
          </p:cNvCxnSpPr>
          <p:nvPr/>
        </p:nvCxnSpPr>
        <p:spPr>
          <a:xfrm flipV="1">
            <a:off x="2017033" y="1974273"/>
            <a:ext cx="803564" cy="1139537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C0040F55-1CCE-455E-D925-76027BAE3FA3}"/>
              </a:ext>
            </a:extLst>
          </p:cNvPr>
          <p:cNvSpPr/>
          <p:nvPr/>
        </p:nvSpPr>
        <p:spPr>
          <a:xfrm>
            <a:off x="6488212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1FCB0570-E1EC-DF38-9DC2-52EE29CE5E2D}"/>
              </a:ext>
            </a:extLst>
          </p:cNvPr>
          <p:cNvSpPr/>
          <p:nvPr/>
        </p:nvSpPr>
        <p:spPr>
          <a:xfrm>
            <a:off x="6488212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ED917D4D-A578-06E0-9362-86403F84F8E9}"/>
              </a:ext>
            </a:extLst>
          </p:cNvPr>
          <p:cNvSpPr/>
          <p:nvPr/>
        </p:nvSpPr>
        <p:spPr>
          <a:xfrm>
            <a:off x="2235147" y="4239492"/>
            <a:ext cx="9640394" cy="180109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C255C32A-98F7-F16C-8422-D23EBE1B4157}"/>
              </a:ext>
            </a:extLst>
          </p:cNvPr>
          <p:cNvSpPr/>
          <p:nvPr/>
        </p:nvSpPr>
        <p:spPr>
          <a:xfrm>
            <a:off x="5559771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76266003-26DC-C8CE-EC6C-FD48551D1B12}"/>
              </a:ext>
            </a:extLst>
          </p:cNvPr>
          <p:cNvSpPr/>
          <p:nvPr/>
        </p:nvSpPr>
        <p:spPr>
          <a:xfrm>
            <a:off x="5559771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7A14CA2-1D1E-F7D5-FC59-D7E2CAA624F3}"/>
              </a:ext>
            </a:extLst>
          </p:cNvPr>
          <p:cNvSpPr txBox="1"/>
          <p:nvPr/>
        </p:nvSpPr>
        <p:spPr>
          <a:xfrm>
            <a:off x="2688409" y="766740"/>
            <a:ext cx="699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endParaRPr kumimoji="1" lang="zh-SG" altLang="en-US" b="1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EB5EEAA-646A-02F7-4694-C7ED67A0DA39}"/>
              </a:ext>
            </a:extLst>
          </p:cNvPr>
          <p:cNvSpPr txBox="1"/>
          <p:nvPr/>
        </p:nvSpPr>
        <p:spPr>
          <a:xfrm>
            <a:off x="2688409" y="3778723"/>
            <a:ext cx="120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r>
              <a:rPr kumimoji="1" lang="zh-CN" altLang="en-US" b="1" dirty="0"/>
              <a:t> </a:t>
            </a:r>
            <a:r>
              <a:rPr kumimoji="1" lang="en-US" altLang="zh-CN" b="1" dirty="0"/>
              <a:t>AKS</a:t>
            </a:r>
            <a:endParaRPr kumimoji="1" lang="zh-SG" altLang="en-US" b="1" dirty="0"/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3FB6426-8D91-4E1E-D043-05C60946FE9B}"/>
              </a:ext>
            </a:extLst>
          </p:cNvPr>
          <p:cNvSpPr/>
          <p:nvPr/>
        </p:nvSpPr>
        <p:spPr>
          <a:xfrm>
            <a:off x="150232" y="2442420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SB</a:t>
            </a:r>
            <a:endParaRPr kumimoji="1" lang="zh-SG" altLang="en-US" dirty="0"/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6C686F76-2E87-9CA9-46E8-CE3FFCA2264E}"/>
              </a:ext>
            </a:extLst>
          </p:cNvPr>
          <p:cNvSpPr/>
          <p:nvPr/>
        </p:nvSpPr>
        <p:spPr>
          <a:xfrm>
            <a:off x="150232" y="3394613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Apigee</a:t>
            </a:r>
            <a:endParaRPr kumimoji="1" lang="zh-SG" altLang="en-US" dirty="0"/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B1B1FA97-DA3A-E15F-A425-98DBEC545EDD}"/>
              </a:ext>
            </a:extLst>
          </p:cNvPr>
          <p:cNvCxnSpPr>
            <a:cxnSpLocks/>
            <a:stCxn id="4" idx="3"/>
            <a:endCxn id="19" idx="1"/>
          </p:cNvCxnSpPr>
          <p:nvPr/>
        </p:nvCxnSpPr>
        <p:spPr>
          <a:xfrm>
            <a:off x="964093" y="2726190"/>
            <a:ext cx="457194" cy="387620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肘形连接符 11">
            <a:extLst>
              <a:ext uri="{FF2B5EF4-FFF2-40B4-BE49-F238E27FC236}">
                <a16:creationId xmlns:a16="http://schemas.microsoft.com/office/drawing/2014/main" id="{20E684E9-8312-7A8C-778B-EE861ABBB502}"/>
              </a:ext>
            </a:extLst>
          </p:cNvPr>
          <p:cNvCxnSpPr>
            <a:cxnSpLocks/>
            <a:stCxn id="5" idx="3"/>
            <a:endCxn id="19" idx="1"/>
          </p:cNvCxnSpPr>
          <p:nvPr/>
        </p:nvCxnSpPr>
        <p:spPr>
          <a:xfrm flipV="1">
            <a:off x="964093" y="3113810"/>
            <a:ext cx="457194" cy="564573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435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0D955-891A-C952-3BE4-8DBCF75E2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extLst>
              <a:ext uri="{FF2B5EF4-FFF2-40B4-BE49-F238E27FC236}">
                <a16:creationId xmlns:a16="http://schemas.microsoft.com/office/drawing/2014/main" id="{1BA6EA5B-7054-7249-CE48-39432CDB25DA}"/>
              </a:ext>
            </a:extLst>
          </p:cNvPr>
          <p:cNvSpPr/>
          <p:nvPr/>
        </p:nvSpPr>
        <p:spPr>
          <a:xfrm>
            <a:off x="7481969" y="1125377"/>
            <a:ext cx="4393572" cy="1801090"/>
          </a:xfrm>
          <a:prstGeom prst="rect">
            <a:avLst/>
          </a:prstGeom>
          <a:solidFill>
            <a:srgbClr val="FFE4CA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837E7469-4C34-76D1-0BF7-97D5BE53B9D3}"/>
              </a:ext>
            </a:extLst>
          </p:cNvPr>
          <p:cNvSpPr/>
          <p:nvPr/>
        </p:nvSpPr>
        <p:spPr>
          <a:xfrm>
            <a:off x="2885913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C66B6583-4DAD-A940-3017-60D3D6F8974B}"/>
              </a:ext>
            </a:extLst>
          </p:cNvPr>
          <p:cNvSpPr/>
          <p:nvPr/>
        </p:nvSpPr>
        <p:spPr>
          <a:xfrm>
            <a:off x="2885913" y="4440383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11" name="圆柱体 10">
            <a:extLst>
              <a:ext uri="{FF2B5EF4-FFF2-40B4-BE49-F238E27FC236}">
                <a16:creationId xmlns:a16="http://schemas.microsoft.com/office/drawing/2014/main" id="{ACFE552B-D242-9A14-DE91-0256354BEC11}"/>
              </a:ext>
            </a:extLst>
          </p:cNvPr>
          <p:cNvSpPr/>
          <p:nvPr/>
        </p:nvSpPr>
        <p:spPr>
          <a:xfrm>
            <a:off x="7719104" y="1330037"/>
            <a:ext cx="1122219" cy="1288472"/>
          </a:xfrm>
          <a:prstGeom prst="can">
            <a:avLst/>
          </a:prstGeom>
          <a:solidFill>
            <a:srgbClr val="F0193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77F1B451-A5D1-4ADA-2B68-C25281F93C69}"/>
              </a:ext>
            </a:extLst>
          </p:cNvPr>
          <p:cNvSpPr/>
          <p:nvPr/>
        </p:nvSpPr>
        <p:spPr>
          <a:xfrm>
            <a:off x="9160056" y="1330037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6" name="圆柱体 15">
            <a:extLst>
              <a:ext uri="{FF2B5EF4-FFF2-40B4-BE49-F238E27FC236}">
                <a16:creationId xmlns:a16="http://schemas.microsoft.com/office/drawing/2014/main" id="{622847EE-CAF9-96A8-2887-056E469E359D}"/>
              </a:ext>
            </a:extLst>
          </p:cNvPr>
          <p:cNvSpPr/>
          <p:nvPr/>
        </p:nvSpPr>
        <p:spPr>
          <a:xfrm>
            <a:off x="7719103" y="4433456"/>
            <a:ext cx="1122219" cy="1288472"/>
          </a:xfrm>
          <a:prstGeom prst="can">
            <a:avLst/>
          </a:prstGeom>
          <a:solidFill>
            <a:srgbClr val="00B050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FC9915B7-AD12-6ADF-4295-D49E22404B7A}"/>
              </a:ext>
            </a:extLst>
          </p:cNvPr>
          <p:cNvSpPr/>
          <p:nvPr/>
        </p:nvSpPr>
        <p:spPr>
          <a:xfrm>
            <a:off x="9160056" y="4440383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ln w="12700">
            <a:solidFill>
              <a:schemeClr val="accent1">
                <a:shade val="15000"/>
              </a:schemeClr>
            </a:solidFill>
            <a:prstDash val="dash"/>
          </a:ln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D3FFBD90-0B4B-A0A0-47F8-ECB2246EC742}"/>
              </a:ext>
            </a:extLst>
          </p:cNvPr>
          <p:cNvSpPr/>
          <p:nvPr/>
        </p:nvSpPr>
        <p:spPr>
          <a:xfrm>
            <a:off x="1486603" y="2549236"/>
            <a:ext cx="595746" cy="1129147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LB</a:t>
            </a:r>
            <a:endParaRPr kumimoji="1" lang="zh-SG" altLang="en-US" dirty="0"/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C36D8564-737E-F6F6-56C5-74CFF759B7B7}"/>
              </a:ext>
            </a:extLst>
          </p:cNvPr>
          <p:cNvSpPr/>
          <p:nvPr/>
        </p:nvSpPr>
        <p:spPr>
          <a:xfrm>
            <a:off x="3783379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016EC00B-FE02-14DD-D3CB-C25E8D417F0E}"/>
              </a:ext>
            </a:extLst>
          </p:cNvPr>
          <p:cNvSpPr/>
          <p:nvPr/>
        </p:nvSpPr>
        <p:spPr>
          <a:xfrm>
            <a:off x="4680845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600" b="1" dirty="0"/>
              <a:t>Mid</a:t>
            </a:r>
            <a:r>
              <a:rPr kumimoji="1" lang="en-US" altLang="zh-SG" sz="16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F8D0BA9F-FA36-799C-A796-8105729F17C9}"/>
              </a:ext>
            </a:extLst>
          </p:cNvPr>
          <p:cNvSpPr/>
          <p:nvPr/>
        </p:nvSpPr>
        <p:spPr>
          <a:xfrm>
            <a:off x="3783380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582ABAA3-6A16-00B7-3D41-2D94D221099E}"/>
              </a:ext>
            </a:extLst>
          </p:cNvPr>
          <p:cNvSpPr/>
          <p:nvPr/>
        </p:nvSpPr>
        <p:spPr>
          <a:xfrm>
            <a:off x="4680846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Mid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cxnSp>
        <p:nvCxnSpPr>
          <p:cNvPr id="25" name="肘形连接符 24">
            <a:extLst>
              <a:ext uri="{FF2B5EF4-FFF2-40B4-BE49-F238E27FC236}">
                <a16:creationId xmlns:a16="http://schemas.microsoft.com/office/drawing/2014/main" id="{7AD95BD4-E9B0-E192-7466-31790FA3FF72}"/>
              </a:ext>
            </a:extLst>
          </p:cNvPr>
          <p:cNvCxnSpPr>
            <a:cxnSpLocks/>
            <a:stCxn id="19" idx="3"/>
            <a:endCxn id="66" idx="1"/>
          </p:cNvCxnSpPr>
          <p:nvPr/>
        </p:nvCxnSpPr>
        <p:spPr>
          <a:xfrm>
            <a:off x="2082349" y="3113810"/>
            <a:ext cx="671375" cy="2031904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B4FE9892-6602-1B11-762E-E5A4C7A4C78A}"/>
              </a:ext>
            </a:extLst>
          </p:cNvPr>
          <p:cNvSpPr/>
          <p:nvPr/>
        </p:nvSpPr>
        <p:spPr>
          <a:xfrm>
            <a:off x="6553528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198E7A94-DC70-A39D-B8D4-50D37F128C34}"/>
              </a:ext>
            </a:extLst>
          </p:cNvPr>
          <p:cNvSpPr/>
          <p:nvPr/>
        </p:nvSpPr>
        <p:spPr>
          <a:xfrm>
            <a:off x="6553528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832E407D-EC88-F4D3-5BAE-3EAC663E3353}"/>
              </a:ext>
            </a:extLst>
          </p:cNvPr>
          <p:cNvSpPr/>
          <p:nvPr/>
        </p:nvSpPr>
        <p:spPr>
          <a:xfrm>
            <a:off x="2753724" y="4245169"/>
            <a:ext cx="4859097" cy="180109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E89D138B-E430-6803-D6E2-9B080BADD6A3}"/>
              </a:ext>
            </a:extLst>
          </p:cNvPr>
          <p:cNvSpPr/>
          <p:nvPr/>
        </p:nvSpPr>
        <p:spPr>
          <a:xfrm>
            <a:off x="5625087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16A90792-F93D-1212-5B10-2CF2EAE46606}"/>
              </a:ext>
            </a:extLst>
          </p:cNvPr>
          <p:cNvSpPr/>
          <p:nvPr/>
        </p:nvSpPr>
        <p:spPr>
          <a:xfrm>
            <a:off x="5625087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F8416163-87B9-D545-290D-0CBB77F17AA6}"/>
              </a:ext>
            </a:extLst>
          </p:cNvPr>
          <p:cNvSpPr txBox="1"/>
          <p:nvPr/>
        </p:nvSpPr>
        <p:spPr>
          <a:xfrm>
            <a:off x="2753725" y="766740"/>
            <a:ext cx="699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endParaRPr kumimoji="1" lang="zh-SG" altLang="en-US" b="1" dirty="0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1F593541-A60E-3F18-18C9-0CB175266831}"/>
              </a:ext>
            </a:extLst>
          </p:cNvPr>
          <p:cNvSpPr txBox="1"/>
          <p:nvPr/>
        </p:nvSpPr>
        <p:spPr>
          <a:xfrm>
            <a:off x="2753725" y="3778723"/>
            <a:ext cx="120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r>
              <a:rPr kumimoji="1" lang="zh-CN" altLang="en-US" b="1" dirty="0"/>
              <a:t> </a:t>
            </a:r>
            <a:r>
              <a:rPr kumimoji="1" lang="en-US" altLang="zh-CN" b="1" dirty="0"/>
              <a:t>AKS</a:t>
            </a:r>
            <a:endParaRPr kumimoji="1" lang="zh-SG" altLang="en-US" b="1" dirty="0"/>
          </a:p>
        </p:txBody>
      </p: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40924BF2-79D7-619A-FBF1-AD3FBC79890A}"/>
              </a:ext>
            </a:extLst>
          </p:cNvPr>
          <p:cNvCxnSpPr>
            <a:cxnSpLocks/>
            <a:stCxn id="66" idx="0"/>
            <a:endCxn id="67" idx="2"/>
          </p:cNvCxnSpPr>
          <p:nvPr/>
        </p:nvCxnSpPr>
        <p:spPr>
          <a:xfrm rot="5400000" flipH="1" flipV="1">
            <a:off x="6771663" y="1338077"/>
            <a:ext cx="1318702" cy="4495482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禁止符 7">
            <a:extLst>
              <a:ext uri="{FF2B5EF4-FFF2-40B4-BE49-F238E27FC236}">
                <a16:creationId xmlns:a16="http://schemas.microsoft.com/office/drawing/2014/main" id="{7B2907B5-0C46-FA0E-8F6F-6BE162D11BEA}"/>
              </a:ext>
            </a:extLst>
          </p:cNvPr>
          <p:cNvSpPr/>
          <p:nvPr/>
        </p:nvSpPr>
        <p:spPr>
          <a:xfrm>
            <a:off x="8037212" y="4455825"/>
            <a:ext cx="486000" cy="48600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10" name="禁止符 9">
            <a:extLst>
              <a:ext uri="{FF2B5EF4-FFF2-40B4-BE49-F238E27FC236}">
                <a16:creationId xmlns:a16="http://schemas.microsoft.com/office/drawing/2014/main" id="{827CC8A1-4E78-8AAB-1EFB-7FF0B766E68E}"/>
              </a:ext>
            </a:extLst>
          </p:cNvPr>
          <p:cNvSpPr/>
          <p:nvPr/>
        </p:nvSpPr>
        <p:spPr>
          <a:xfrm>
            <a:off x="10046201" y="4471506"/>
            <a:ext cx="486000" cy="48600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12" name="禁止符 11">
            <a:extLst>
              <a:ext uri="{FF2B5EF4-FFF2-40B4-BE49-F238E27FC236}">
                <a16:creationId xmlns:a16="http://schemas.microsoft.com/office/drawing/2014/main" id="{DE01D2C6-9437-26DB-F100-CC08FBC35426}"/>
              </a:ext>
            </a:extLst>
          </p:cNvPr>
          <p:cNvSpPr/>
          <p:nvPr/>
        </p:nvSpPr>
        <p:spPr>
          <a:xfrm>
            <a:off x="4214308" y="1077344"/>
            <a:ext cx="1774468" cy="170372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676BDDF-1A7D-A52C-A4F1-6595376CE0C9}"/>
              </a:ext>
            </a:extLst>
          </p:cNvPr>
          <p:cNvSpPr/>
          <p:nvPr/>
        </p:nvSpPr>
        <p:spPr>
          <a:xfrm>
            <a:off x="150232" y="2442420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SB</a:t>
            </a:r>
            <a:endParaRPr kumimoji="1" lang="zh-SG" altLang="en-US" dirty="0"/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BF4AC003-C265-4EC0-7447-67CC0DBD27CB}"/>
              </a:ext>
            </a:extLst>
          </p:cNvPr>
          <p:cNvSpPr/>
          <p:nvPr/>
        </p:nvSpPr>
        <p:spPr>
          <a:xfrm>
            <a:off x="150232" y="3394613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Apigee</a:t>
            </a:r>
            <a:endParaRPr kumimoji="1" lang="zh-SG" altLang="en-US" dirty="0"/>
          </a:p>
        </p:txBody>
      </p:sp>
      <p:cxnSp>
        <p:nvCxnSpPr>
          <p:cNvPr id="29" name="肘形连接符 28">
            <a:extLst>
              <a:ext uri="{FF2B5EF4-FFF2-40B4-BE49-F238E27FC236}">
                <a16:creationId xmlns:a16="http://schemas.microsoft.com/office/drawing/2014/main" id="{57A831F3-0C32-ECBE-EE38-BDD8C1695948}"/>
              </a:ext>
            </a:extLst>
          </p:cNvPr>
          <p:cNvCxnSpPr>
            <a:cxnSpLocks/>
            <a:stCxn id="27" idx="3"/>
            <a:endCxn id="19" idx="1"/>
          </p:cNvCxnSpPr>
          <p:nvPr/>
        </p:nvCxnSpPr>
        <p:spPr>
          <a:xfrm>
            <a:off x="964093" y="2726190"/>
            <a:ext cx="522510" cy="387620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>
            <a:extLst>
              <a:ext uri="{FF2B5EF4-FFF2-40B4-BE49-F238E27FC236}">
                <a16:creationId xmlns:a16="http://schemas.microsoft.com/office/drawing/2014/main" id="{FFA3D935-9E81-5141-2BAD-33B91C87F07E}"/>
              </a:ext>
            </a:extLst>
          </p:cNvPr>
          <p:cNvCxnSpPr>
            <a:cxnSpLocks/>
            <a:stCxn id="28" idx="3"/>
            <a:endCxn id="19" idx="1"/>
          </p:cNvCxnSpPr>
          <p:nvPr/>
        </p:nvCxnSpPr>
        <p:spPr>
          <a:xfrm flipV="1">
            <a:off x="964093" y="3113810"/>
            <a:ext cx="522510" cy="564573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>
            <a:extLst>
              <a:ext uri="{FF2B5EF4-FFF2-40B4-BE49-F238E27FC236}">
                <a16:creationId xmlns:a16="http://schemas.microsoft.com/office/drawing/2014/main" id="{218B4F38-C038-DD39-5534-A809B125C519}"/>
              </a:ext>
            </a:extLst>
          </p:cNvPr>
          <p:cNvSpPr txBox="1">
            <a:spLocks/>
          </p:cNvSpPr>
          <p:nvPr/>
        </p:nvSpPr>
        <p:spPr>
          <a:xfrm>
            <a:off x="123647" y="215617"/>
            <a:ext cx="7913565" cy="405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Fus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Product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Environment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Migration </a:t>
            </a:r>
            <a:r>
              <a:rPr lang="en-US" altLang="zh-CN" sz="2000" dirty="0">
                <a:solidFill>
                  <a:srgbClr val="2E2E32"/>
                </a:solidFill>
                <a:latin typeface="DIN Round Offc Pro"/>
                <a:cs typeface="Helvetica Neue"/>
              </a:rPr>
              <a:t>(After)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564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4C7EF-2C23-8C54-5C9D-B715B7674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圆角矩形 291">
            <a:extLst>
              <a:ext uri="{FF2B5EF4-FFF2-40B4-BE49-F238E27FC236}">
                <a16:creationId xmlns:a16="http://schemas.microsoft.com/office/drawing/2014/main" id="{FCEE46DB-6663-3C85-4739-67FCB4DCF436}"/>
              </a:ext>
            </a:extLst>
          </p:cNvPr>
          <p:cNvSpPr/>
          <p:nvPr/>
        </p:nvSpPr>
        <p:spPr>
          <a:xfrm>
            <a:off x="835378" y="1042298"/>
            <a:ext cx="10317535" cy="4966000"/>
          </a:xfrm>
          <a:prstGeom prst="roundRect">
            <a:avLst>
              <a:gd name="adj" fmla="val 2844"/>
            </a:avLst>
          </a:prstGeom>
          <a:noFill/>
          <a:ln w="9525" cap="flat" cmpd="sng" algn="ctr">
            <a:solidFill>
              <a:schemeClr val="tx1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297" name="文本框 296">
            <a:extLst>
              <a:ext uri="{FF2B5EF4-FFF2-40B4-BE49-F238E27FC236}">
                <a16:creationId xmlns:a16="http://schemas.microsoft.com/office/drawing/2014/main" id="{1FA42E91-F29E-C849-1D51-21DB69752ED7}"/>
              </a:ext>
            </a:extLst>
          </p:cNvPr>
          <p:cNvSpPr txBox="1"/>
          <p:nvPr/>
        </p:nvSpPr>
        <p:spPr>
          <a:xfrm>
            <a:off x="5225409" y="942385"/>
            <a:ext cx="1741181" cy="7817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AGE </a:t>
            </a:r>
            <a:r>
              <a:rPr kumimoji="1" lang="en-US" altLang="zh-CN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1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(T + 3Months)</a:t>
            </a:r>
            <a:b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T = AKS Resources Ready Day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324" name="矩形 323">
            <a:extLst>
              <a:ext uri="{FF2B5EF4-FFF2-40B4-BE49-F238E27FC236}">
                <a16:creationId xmlns:a16="http://schemas.microsoft.com/office/drawing/2014/main" id="{47667984-97BA-6806-029B-19CA2A0351CE}"/>
              </a:ext>
            </a:extLst>
          </p:cNvPr>
          <p:cNvSpPr/>
          <p:nvPr/>
        </p:nvSpPr>
        <p:spPr>
          <a:xfrm>
            <a:off x="1039087" y="2623068"/>
            <a:ext cx="2203204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7F38C89C-62CD-E329-1428-AC31751A447E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Roadmap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B69C7788-3121-45CB-2BFB-DB84BD7E0638}"/>
              </a:ext>
            </a:extLst>
          </p:cNvPr>
          <p:cNvSpPr txBox="1"/>
          <p:nvPr/>
        </p:nvSpPr>
        <p:spPr>
          <a:xfrm>
            <a:off x="1989960" y="2645521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图形 2">
            <a:extLst>
              <a:ext uri="{FF2B5EF4-FFF2-40B4-BE49-F238E27FC236}">
                <a16:creationId xmlns:a16="http://schemas.microsoft.com/office/drawing/2014/main" id="{0CFE086B-A49D-DFDB-968B-8A726A043E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5313" y="2608327"/>
            <a:ext cx="278181" cy="260137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8DB4531D-45D2-214A-52DF-EAD88F1BBAD6}"/>
              </a:ext>
            </a:extLst>
          </p:cNvPr>
          <p:cNvSpPr/>
          <p:nvPr/>
        </p:nvSpPr>
        <p:spPr>
          <a:xfrm>
            <a:off x="1133796" y="2903061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0233B2A-0DA0-7B31-1006-EDA12C91DCBB}"/>
              </a:ext>
            </a:extLst>
          </p:cNvPr>
          <p:cNvSpPr txBox="1"/>
          <p:nvPr/>
        </p:nvSpPr>
        <p:spPr>
          <a:xfrm>
            <a:off x="1683753" y="3381391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3CA8409-5E51-5B42-A71C-FC0FBCF22791}"/>
              </a:ext>
            </a:extLst>
          </p:cNvPr>
          <p:cNvSpPr txBox="1"/>
          <p:nvPr/>
        </p:nvSpPr>
        <p:spPr>
          <a:xfrm>
            <a:off x="1271303" y="2914302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1444C31-779C-9A5D-5FD2-86F5AC6B7A2A}"/>
              </a:ext>
            </a:extLst>
          </p:cNvPr>
          <p:cNvSpPr txBox="1"/>
          <p:nvPr/>
        </p:nvSpPr>
        <p:spPr>
          <a:xfrm>
            <a:off x="1193440" y="3379719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E8EB406-DC44-1A82-B62A-BF4BB6A8334E}"/>
              </a:ext>
            </a:extLst>
          </p:cNvPr>
          <p:cNvSpPr txBox="1"/>
          <p:nvPr/>
        </p:nvSpPr>
        <p:spPr>
          <a:xfrm>
            <a:off x="1193440" y="4075047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31064EF-846E-FFF5-66DA-8118DBB6272F}"/>
              </a:ext>
            </a:extLst>
          </p:cNvPr>
          <p:cNvSpPr txBox="1"/>
          <p:nvPr/>
        </p:nvSpPr>
        <p:spPr>
          <a:xfrm>
            <a:off x="1683753" y="4071053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18" name="肘形连接符 17">
            <a:extLst>
              <a:ext uri="{FF2B5EF4-FFF2-40B4-BE49-F238E27FC236}">
                <a16:creationId xmlns:a16="http://schemas.microsoft.com/office/drawing/2014/main" id="{400B2DDC-76F8-250F-C524-D42BB1B0D0B4}"/>
              </a:ext>
            </a:extLst>
          </p:cNvPr>
          <p:cNvCxnSpPr>
            <a:cxnSpLocks/>
            <a:stCxn id="15" idx="0"/>
            <a:endCxn id="51" idx="3"/>
          </p:cNvCxnSpPr>
          <p:nvPr/>
        </p:nvCxnSpPr>
        <p:spPr>
          <a:xfrm rot="5400000" flipH="1" flipV="1">
            <a:off x="1310725" y="3637721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4">
            <a:extLst>
              <a:ext uri="{FF2B5EF4-FFF2-40B4-BE49-F238E27FC236}">
                <a16:creationId xmlns:a16="http://schemas.microsoft.com/office/drawing/2014/main" id="{DFE1934C-AC49-4A7D-A734-C66B794D85B5}"/>
              </a:ext>
            </a:extLst>
          </p:cNvPr>
          <p:cNvCxnSpPr>
            <a:cxnSpLocks/>
            <a:stCxn id="11" idx="1"/>
            <a:endCxn id="14" idx="3"/>
          </p:cNvCxnSpPr>
          <p:nvPr/>
        </p:nvCxnSpPr>
        <p:spPr>
          <a:xfrm flipH="1" flipV="1">
            <a:off x="1409772" y="3486832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箭头连接符 27">
            <a:extLst>
              <a:ext uri="{FF2B5EF4-FFF2-40B4-BE49-F238E27FC236}">
                <a16:creationId xmlns:a16="http://schemas.microsoft.com/office/drawing/2014/main" id="{95BD2D05-B7B4-5BB5-E896-E67E3A2BAC43}"/>
              </a:ext>
            </a:extLst>
          </p:cNvPr>
          <p:cNvCxnSpPr>
            <a:cxnSpLocks/>
            <a:stCxn id="16" idx="0"/>
            <a:endCxn id="11" idx="2"/>
          </p:cNvCxnSpPr>
          <p:nvPr/>
        </p:nvCxnSpPr>
        <p:spPr>
          <a:xfrm flipV="1">
            <a:off x="1885429" y="3595617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>
            <a:extLst>
              <a:ext uri="{FF2B5EF4-FFF2-40B4-BE49-F238E27FC236}">
                <a16:creationId xmlns:a16="http://schemas.microsoft.com/office/drawing/2014/main" id="{F543DB55-1DA2-13FF-22A2-5D7437A8C4A1}"/>
              </a:ext>
            </a:extLst>
          </p:cNvPr>
          <p:cNvSpPr/>
          <p:nvPr/>
        </p:nvSpPr>
        <p:spPr>
          <a:xfrm>
            <a:off x="2315869" y="359104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3" name="图形 421">
            <a:extLst>
              <a:ext uri="{FF2B5EF4-FFF2-40B4-BE49-F238E27FC236}">
                <a16:creationId xmlns:a16="http://schemas.microsoft.com/office/drawing/2014/main" id="{E5749529-6B97-6040-690F-4694FA6CCA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29858" y="3606552"/>
            <a:ext cx="144493" cy="126675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48287DB0-2894-BC1D-1E1B-03CC319B9CC4}"/>
              </a:ext>
            </a:extLst>
          </p:cNvPr>
          <p:cNvSpPr txBox="1"/>
          <p:nvPr/>
        </p:nvSpPr>
        <p:spPr>
          <a:xfrm>
            <a:off x="2445424" y="3567137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7EC343B5-7B7F-9471-855D-63E9711DBC56}"/>
              </a:ext>
            </a:extLst>
          </p:cNvPr>
          <p:cNvSpPr/>
          <p:nvPr/>
        </p:nvSpPr>
        <p:spPr>
          <a:xfrm>
            <a:off x="2367717" y="392139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FA6A596-4F8D-0059-F87D-F1457E6B2AC1}"/>
              </a:ext>
            </a:extLst>
          </p:cNvPr>
          <p:cNvSpPr/>
          <p:nvPr/>
        </p:nvSpPr>
        <p:spPr>
          <a:xfrm>
            <a:off x="2367717" y="4333173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612F9C8D-D1AD-3B1E-11AA-6A0C91AC3DD1}"/>
              </a:ext>
            </a:extLst>
          </p:cNvPr>
          <p:cNvSpPr/>
          <p:nvPr/>
        </p:nvSpPr>
        <p:spPr>
          <a:xfrm>
            <a:off x="2395800" y="4361946"/>
            <a:ext cx="367576" cy="211365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3B6C85DE-F5F5-3F26-69CA-55CC92B26695}"/>
              </a:ext>
            </a:extLst>
          </p:cNvPr>
          <p:cNvSpPr/>
          <p:nvPr/>
        </p:nvSpPr>
        <p:spPr>
          <a:xfrm>
            <a:off x="2758607" y="392139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4" name="肘形连接符 43">
            <a:extLst>
              <a:ext uri="{FF2B5EF4-FFF2-40B4-BE49-F238E27FC236}">
                <a16:creationId xmlns:a16="http://schemas.microsoft.com/office/drawing/2014/main" id="{C763BCCB-08F1-9FE7-31D1-A6505B045480}"/>
              </a:ext>
            </a:extLst>
          </p:cNvPr>
          <p:cNvCxnSpPr>
            <a:cxnSpLocks/>
            <a:stCxn id="37" idx="0"/>
            <a:endCxn id="48" idx="5"/>
          </p:cNvCxnSpPr>
          <p:nvPr/>
        </p:nvCxnSpPr>
        <p:spPr>
          <a:xfrm rot="16200000" flipV="1">
            <a:off x="2091335" y="3487018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椭圆 47">
            <a:extLst>
              <a:ext uri="{FF2B5EF4-FFF2-40B4-BE49-F238E27FC236}">
                <a16:creationId xmlns:a16="http://schemas.microsoft.com/office/drawing/2014/main" id="{6E4D6E66-D980-6EAE-3A81-2517F52BA7A9}"/>
              </a:ext>
            </a:extLst>
          </p:cNvPr>
          <p:cNvSpPr/>
          <p:nvPr/>
        </p:nvSpPr>
        <p:spPr>
          <a:xfrm>
            <a:off x="1967665" y="3579959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721786ED-52F9-C6C0-9C41-C88E57D486F3}"/>
              </a:ext>
            </a:extLst>
          </p:cNvPr>
          <p:cNvSpPr/>
          <p:nvPr/>
        </p:nvSpPr>
        <p:spPr>
          <a:xfrm>
            <a:off x="1745415" y="3576784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54" name="肘形连接符 53">
            <a:extLst>
              <a:ext uri="{FF2B5EF4-FFF2-40B4-BE49-F238E27FC236}">
                <a16:creationId xmlns:a16="http://schemas.microsoft.com/office/drawing/2014/main" id="{2805B8EC-77E8-C196-8B04-50A0EC467802}"/>
              </a:ext>
            </a:extLst>
          </p:cNvPr>
          <p:cNvCxnSpPr>
            <a:cxnSpLocks/>
            <a:stCxn id="43" idx="0"/>
            <a:endCxn id="48" idx="5"/>
          </p:cNvCxnSpPr>
          <p:nvPr/>
        </p:nvCxnSpPr>
        <p:spPr>
          <a:xfrm rot="16200000" flipV="1">
            <a:off x="2292142" y="3286211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rgbClr val="FF9300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BA7A2EEB-4EF4-4A90-7E04-40E1B05B6D9C}"/>
              </a:ext>
            </a:extLst>
          </p:cNvPr>
          <p:cNvCxnSpPr>
            <a:cxnSpLocks/>
            <a:stCxn id="37" idx="2"/>
            <a:endCxn id="38" idx="0"/>
          </p:cNvCxnSpPr>
          <p:nvPr/>
        </p:nvCxnSpPr>
        <p:spPr>
          <a:xfrm rot="16200000" flipH="1">
            <a:off x="2501281" y="4097180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>
            <a:extLst>
              <a:ext uri="{FF2B5EF4-FFF2-40B4-BE49-F238E27FC236}">
                <a16:creationId xmlns:a16="http://schemas.microsoft.com/office/drawing/2014/main" id="{18CC9A6A-F41D-23E8-2D77-B3EF5BC50FBE}"/>
              </a:ext>
            </a:extLst>
          </p:cNvPr>
          <p:cNvCxnSpPr>
            <a:cxnSpLocks/>
            <a:stCxn id="43" idx="2"/>
            <a:endCxn id="38" idx="0"/>
          </p:cNvCxnSpPr>
          <p:nvPr/>
        </p:nvCxnSpPr>
        <p:spPr>
          <a:xfrm rot="5400000">
            <a:off x="2702088" y="4107933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矩形 301">
            <a:extLst>
              <a:ext uri="{FF2B5EF4-FFF2-40B4-BE49-F238E27FC236}">
                <a16:creationId xmlns:a16="http://schemas.microsoft.com/office/drawing/2014/main" id="{E3959AD8-FC37-F147-1261-DF5190AB34D8}"/>
              </a:ext>
            </a:extLst>
          </p:cNvPr>
          <p:cNvSpPr/>
          <p:nvPr/>
        </p:nvSpPr>
        <p:spPr>
          <a:xfrm>
            <a:off x="6806267" y="2628160"/>
            <a:ext cx="4127757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3" name="文本框 302">
            <a:extLst>
              <a:ext uri="{FF2B5EF4-FFF2-40B4-BE49-F238E27FC236}">
                <a16:creationId xmlns:a16="http://schemas.microsoft.com/office/drawing/2014/main" id="{2CBC4B2B-6F4D-0948-557E-C18A6B7211CB}"/>
              </a:ext>
            </a:extLst>
          </p:cNvPr>
          <p:cNvSpPr txBox="1"/>
          <p:nvPr/>
        </p:nvSpPr>
        <p:spPr>
          <a:xfrm>
            <a:off x="8747741" y="2650613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4" name="图形 303">
            <a:extLst>
              <a:ext uri="{FF2B5EF4-FFF2-40B4-BE49-F238E27FC236}">
                <a16:creationId xmlns:a16="http://schemas.microsoft.com/office/drawing/2014/main" id="{DDC8414D-8532-ABE7-6410-100A0DAFB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3094" y="2613419"/>
            <a:ext cx="278181" cy="260137"/>
          </a:xfrm>
          <a:prstGeom prst="rect">
            <a:avLst/>
          </a:prstGeom>
        </p:spPr>
      </p:pic>
      <p:sp>
        <p:nvSpPr>
          <p:cNvPr id="305" name="矩形 304">
            <a:extLst>
              <a:ext uri="{FF2B5EF4-FFF2-40B4-BE49-F238E27FC236}">
                <a16:creationId xmlns:a16="http://schemas.microsoft.com/office/drawing/2014/main" id="{E96A61F5-61FE-A729-94A5-D819203301E2}"/>
              </a:ext>
            </a:extLst>
          </p:cNvPr>
          <p:cNvSpPr/>
          <p:nvPr/>
        </p:nvSpPr>
        <p:spPr>
          <a:xfrm>
            <a:off x="6900977" y="2908153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E34EB1B7-CFCB-A0D3-F94E-960B5E710F69}"/>
              </a:ext>
            </a:extLst>
          </p:cNvPr>
          <p:cNvSpPr txBox="1"/>
          <p:nvPr/>
        </p:nvSpPr>
        <p:spPr>
          <a:xfrm>
            <a:off x="7450934" y="3386483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EBE29DEC-3D38-E197-39D4-B8F7420525BD}"/>
              </a:ext>
            </a:extLst>
          </p:cNvPr>
          <p:cNvSpPr txBox="1"/>
          <p:nvPr/>
        </p:nvSpPr>
        <p:spPr>
          <a:xfrm>
            <a:off x="7038484" y="2919394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8" name="文本框 307">
            <a:extLst>
              <a:ext uri="{FF2B5EF4-FFF2-40B4-BE49-F238E27FC236}">
                <a16:creationId xmlns:a16="http://schemas.microsoft.com/office/drawing/2014/main" id="{DE7EC2A9-6332-5459-3D2C-42DBE6B75D5E}"/>
              </a:ext>
            </a:extLst>
          </p:cNvPr>
          <p:cNvSpPr txBox="1"/>
          <p:nvPr/>
        </p:nvSpPr>
        <p:spPr>
          <a:xfrm>
            <a:off x="6960621" y="3384811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9" name="文本框 308">
            <a:extLst>
              <a:ext uri="{FF2B5EF4-FFF2-40B4-BE49-F238E27FC236}">
                <a16:creationId xmlns:a16="http://schemas.microsoft.com/office/drawing/2014/main" id="{2BBF2FB8-DBD9-EA2E-E3CF-E37BAD4CFABE}"/>
              </a:ext>
            </a:extLst>
          </p:cNvPr>
          <p:cNvSpPr txBox="1"/>
          <p:nvPr/>
        </p:nvSpPr>
        <p:spPr>
          <a:xfrm>
            <a:off x="6960621" y="4080139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310" name="文本框 309">
            <a:extLst>
              <a:ext uri="{FF2B5EF4-FFF2-40B4-BE49-F238E27FC236}">
                <a16:creationId xmlns:a16="http://schemas.microsoft.com/office/drawing/2014/main" id="{A6756531-CFCD-0F0A-B669-DDB5CB62E5C0}"/>
              </a:ext>
            </a:extLst>
          </p:cNvPr>
          <p:cNvSpPr txBox="1"/>
          <p:nvPr/>
        </p:nvSpPr>
        <p:spPr>
          <a:xfrm>
            <a:off x="7450934" y="4076145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311" name="肘形连接符 310">
            <a:extLst>
              <a:ext uri="{FF2B5EF4-FFF2-40B4-BE49-F238E27FC236}">
                <a16:creationId xmlns:a16="http://schemas.microsoft.com/office/drawing/2014/main" id="{4324F760-F62B-6FE3-DE2C-AB59DF0E39BD}"/>
              </a:ext>
            </a:extLst>
          </p:cNvPr>
          <p:cNvCxnSpPr>
            <a:cxnSpLocks/>
            <a:stCxn id="309" idx="0"/>
            <a:endCxn id="387" idx="3"/>
          </p:cNvCxnSpPr>
          <p:nvPr/>
        </p:nvCxnSpPr>
        <p:spPr>
          <a:xfrm rot="5400000" flipH="1" flipV="1">
            <a:off x="7077906" y="3642813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5B54F33C-95D2-A3D6-B22F-5F2EBFE7D3F7}"/>
              </a:ext>
            </a:extLst>
          </p:cNvPr>
          <p:cNvCxnSpPr>
            <a:cxnSpLocks/>
            <a:stCxn id="306" idx="1"/>
            <a:endCxn id="308" idx="3"/>
          </p:cNvCxnSpPr>
          <p:nvPr/>
        </p:nvCxnSpPr>
        <p:spPr>
          <a:xfrm flipH="1" flipV="1">
            <a:off x="7176953" y="3491924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直线箭头连接符 312">
            <a:extLst>
              <a:ext uri="{FF2B5EF4-FFF2-40B4-BE49-F238E27FC236}">
                <a16:creationId xmlns:a16="http://schemas.microsoft.com/office/drawing/2014/main" id="{9166C7F0-C215-6B30-C355-9CA0CDEBEFE1}"/>
              </a:ext>
            </a:extLst>
          </p:cNvPr>
          <p:cNvCxnSpPr>
            <a:cxnSpLocks/>
            <a:stCxn id="310" idx="0"/>
            <a:endCxn id="306" idx="2"/>
          </p:cNvCxnSpPr>
          <p:nvPr/>
        </p:nvCxnSpPr>
        <p:spPr>
          <a:xfrm flipV="1">
            <a:off x="7652610" y="3600709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矩形 313">
            <a:extLst>
              <a:ext uri="{FF2B5EF4-FFF2-40B4-BE49-F238E27FC236}">
                <a16:creationId xmlns:a16="http://schemas.microsoft.com/office/drawing/2014/main" id="{99A90584-988E-9554-E86B-6532E94CAB94}"/>
              </a:ext>
            </a:extLst>
          </p:cNvPr>
          <p:cNvSpPr/>
          <p:nvPr/>
        </p:nvSpPr>
        <p:spPr>
          <a:xfrm>
            <a:off x="8083050" y="3596132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15" name="图形 421">
            <a:extLst>
              <a:ext uri="{FF2B5EF4-FFF2-40B4-BE49-F238E27FC236}">
                <a16:creationId xmlns:a16="http://schemas.microsoft.com/office/drawing/2014/main" id="{F41FEA83-FEA2-1A7C-E9FA-E8C2CBE274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97039" y="3611644"/>
            <a:ext cx="144493" cy="126675"/>
          </a:xfrm>
          <a:prstGeom prst="rect">
            <a:avLst/>
          </a:prstGeom>
        </p:spPr>
      </p:pic>
      <p:sp>
        <p:nvSpPr>
          <p:cNvPr id="316" name="文本框 315">
            <a:extLst>
              <a:ext uri="{FF2B5EF4-FFF2-40B4-BE49-F238E27FC236}">
                <a16:creationId xmlns:a16="http://schemas.microsoft.com/office/drawing/2014/main" id="{CC90B955-85BE-FD86-50DC-6480DAE9DE23}"/>
              </a:ext>
            </a:extLst>
          </p:cNvPr>
          <p:cNvSpPr txBox="1"/>
          <p:nvPr/>
        </p:nvSpPr>
        <p:spPr>
          <a:xfrm>
            <a:off x="8212605" y="3572229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7" name="圆角矩形 316">
            <a:extLst>
              <a:ext uri="{FF2B5EF4-FFF2-40B4-BE49-F238E27FC236}">
                <a16:creationId xmlns:a16="http://schemas.microsoft.com/office/drawing/2014/main" id="{D11AA45A-344E-F479-5B1A-4E96F0F3D85C}"/>
              </a:ext>
            </a:extLst>
          </p:cNvPr>
          <p:cNvSpPr/>
          <p:nvPr/>
        </p:nvSpPr>
        <p:spPr>
          <a:xfrm>
            <a:off x="8134898" y="3926488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8" name="矩形 317">
            <a:extLst>
              <a:ext uri="{FF2B5EF4-FFF2-40B4-BE49-F238E27FC236}">
                <a16:creationId xmlns:a16="http://schemas.microsoft.com/office/drawing/2014/main" id="{A77355B6-3D60-1E0A-FDB9-EB66B54F9C20}"/>
              </a:ext>
            </a:extLst>
          </p:cNvPr>
          <p:cNvSpPr/>
          <p:nvPr/>
        </p:nvSpPr>
        <p:spPr>
          <a:xfrm>
            <a:off x="8134898" y="4338265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35" name="圆角矩形 334">
            <a:extLst>
              <a:ext uri="{FF2B5EF4-FFF2-40B4-BE49-F238E27FC236}">
                <a16:creationId xmlns:a16="http://schemas.microsoft.com/office/drawing/2014/main" id="{E9827A4C-9331-5789-30E0-A0ED96CE2508}"/>
              </a:ext>
            </a:extLst>
          </p:cNvPr>
          <p:cNvSpPr/>
          <p:nvPr/>
        </p:nvSpPr>
        <p:spPr>
          <a:xfrm>
            <a:off x="8525788" y="3926488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346" name="肘形连接符 345">
            <a:extLst>
              <a:ext uri="{FF2B5EF4-FFF2-40B4-BE49-F238E27FC236}">
                <a16:creationId xmlns:a16="http://schemas.microsoft.com/office/drawing/2014/main" id="{60C618AD-18EC-4EF8-2540-E86C294BDEE5}"/>
              </a:ext>
            </a:extLst>
          </p:cNvPr>
          <p:cNvCxnSpPr>
            <a:cxnSpLocks/>
            <a:stCxn id="317" idx="0"/>
            <a:endCxn id="385" idx="5"/>
          </p:cNvCxnSpPr>
          <p:nvPr/>
        </p:nvCxnSpPr>
        <p:spPr>
          <a:xfrm rot="16200000" flipV="1">
            <a:off x="7858516" y="3492110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椭圆 384">
            <a:extLst>
              <a:ext uri="{FF2B5EF4-FFF2-40B4-BE49-F238E27FC236}">
                <a16:creationId xmlns:a16="http://schemas.microsoft.com/office/drawing/2014/main" id="{E18EBC25-F70A-BD5C-0C5C-5C7475DE8937}"/>
              </a:ext>
            </a:extLst>
          </p:cNvPr>
          <p:cNvSpPr/>
          <p:nvPr/>
        </p:nvSpPr>
        <p:spPr>
          <a:xfrm>
            <a:off x="7734846" y="3585051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387" name="椭圆 386">
            <a:extLst>
              <a:ext uri="{FF2B5EF4-FFF2-40B4-BE49-F238E27FC236}">
                <a16:creationId xmlns:a16="http://schemas.microsoft.com/office/drawing/2014/main" id="{8717A5C2-907B-07B1-7D1F-2C0F10E9FA91}"/>
              </a:ext>
            </a:extLst>
          </p:cNvPr>
          <p:cNvSpPr/>
          <p:nvPr/>
        </p:nvSpPr>
        <p:spPr>
          <a:xfrm>
            <a:off x="7512596" y="3581876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388" name="肘形连接符 387">
            <a:extLst>
              <a:ext uri="{FF2B5EF4-FFF2-40B4-BE49-F238E27FC236}">
                <a16:creationId xmlns:a16="http://schemas.microsoft.com/office/drawing/2014/main" id="{C9C9E4D1-4F3B-99A4-4C51-356F0230242D}"/>
              </a:ext>
            </a:extLst>
          </p:cNvPr>
          <p:cNvCxnSpPr>
            <a:cxnSpLocks/>
            <a:stCxn id="335" idx="0"/>
            <a:endCxn id="385" idx="5"/>
          </p:cNvCxnSpPr>
          <p:nvPr/>
        </p:nvCxnSpPr>
        <p:spPr>
          <a:xfrm rot="16200000" flipV="1">
            <a:off x="8059323" y="3291303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肘形连接符 388">
            <a:extLst>
              <a:ext uri="{FF2B5EF4-FFF2-40B4-BE49-F238E27FC236}">
                <a16:creationId xmlns:a16="http://schemas.microsoft.com/office/drawing/2014/main" id="{385CEBE0-0EEA-2731-FC81-FF02F90BADC6}"/>
              </a:ext>
            </a:extLst>
          </p:cNvPr>
          <p:cNvCxnSpPr>
            <a:cxnSpLocks/>
            <a:stCxn id="317" idx="2"/>
            <a:endCxn id="318" idx="0"/>
          </p:cNvCxnSpPr>
          <p:nvPr/>
        </p:nvCxnSpPr>
        <p:spPr>
          <a:xfrm rot="16200000" flipH="1">
            <a:off x="8268462" y="4102272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肘形连接符 389">
            <a:extLst>
              <a:ext uri="{FF2B5EF4-FFF2-40B4-BE49-F238E27FC236}">
                <a16:creationId xmlns:a16="http://schemas.microsoft.com/office/drawing/2014/main" id="{371B0B29-D135-427E-3387-CAD0959A0A80}"/>
              </a:ext>
            </a:extLst>
          </p:cNvPr>
          <p:cNvCxnSpPr>
            <a:cxnSpLocks/>
            <a:stCxn id="335" idx="2"/>
            <a:endCxn id="318" idx="0"/>
          </p:cNvCxnSpPr>
          <p:nvPr/>
        </p:nvCxnSpPr>
        <p:spPr>
          <a:xfrm rot="5400000">
            <a:off x="8469269" y="4113025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矩形 390">
            <a:extLst>
              <a:ext uri="{FF2B5EF4-FFF2-40B4-BE49-F238E27FC236}">
                <a16:creationId xmlns:a16="http://schemas.microsoft.com/office/drawing/2014/main" id="{5CCA2445-D084-527F-F442-CCA37F59D14B}"/>
              </a:ext>
            </a:extLst>
          </p:cNvPr>
          <p:cNvSpPr/>
          <p:nvPr/>
        </p:nvSpPr>
        <p:spPr>
          <a:xfrm>
            <a:off x="9045348" y="3596133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92" name="图形 421">
            <a:extLst>
              <a:ext uri="{FF2B5EF4-FFF2-40B4-BE49-F238E27FC236}">
                <a16:creationId xmlns:a16="http://schemas.microsoft.com/office/drawing/2014/main" id="{1BC2899A-F1C0-A4FA-C97F-5C0C680051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59337" y="3611645"/>
            <a:ext cx="144493" cy="126675"/>
          </a:xfrm>
          <a:prstGeom prst="rect">
            <a:avLst/>
          </a:prstGeom>
        </p:spPr>
      </p:pic>
      <p:sp>
        <p:nvSpPr>
          <p:cNvPr id="394" name="圆角矩形 393">
            <a:extLst>
              <a:ext uri="{FF2B5EF4-FFF2-40B4-BE49-F238E27FC236}">
                <a16:creationId xmlns:a16="http://schemas.microsoft.com/office/drawing/2014/main" id="{DB70498D-1D40-7C9A-E8D9-782AF7095C08}"/>
              </a:ext>
            </a:extLst>
          </p:cNvPr>
          <p:cNvSpPr/>
          <p:nvPr/>
        </p:nvSpPr>
        <p:spPr>
          <a:xfrm>
            <a:off x="9097196" y="3926489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95" name="矩形 394">
            <a:extLst>
              <a:ext uri="{FF2B5EF4-FFF2-40B4-BE49-F238E27FC236}">
                <a16:creationId xmlns:a16="http://schemas.microsoft.com/office/drawing/2014/main" id="{DB0F1C28-95D9-B3BF-9FEA-67C7FA3B9A53}"/>
              </a:ext>
            </a:extLst>
          </p:cNvPr>
          <p:cNvSpPr/>
          <p:nvPr/>
        </p:nvSpPr>
        <p:spPr>
          <a:xfrm>
            <a:off x="9097196" y="4342620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16" name="圆角矩形 415">
            <a:extLst>
              <a:ext uri="{FF2B5EF4-FFF2-40B4-BE49-F238E27FC236}">
                <a16:creationId xmlns:a16="http://schemas.microsoft.com/office/drawing/2014/main" id="{3A43E2C7-A83D-6FD4-6395-1E5B5669B1D1}"/>
              </a:ext>
            </a:extLst>
          </p:cNvPr>
          <p:cNvSpPr/>
          <p:nvPr/>
        </p:nvSpPr>
        <p:spPr>
          <a:xfrm>
            <a:off x="9210751" y="43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17" name="圆角矩形 416">
            <a:extLst>
              <a:ext uri="{FF2B5EF4-FFF2-40B4-BE49-F238E27FC236}">
                <a16:creationId xmlns:a16="http://schemas.microsoft.com/office/drawing/2014/main" id="{889D84F8-D4EF-F262-89E9-3D0EF73DCFD2}"/>
              </a:ext>
            </a:extLst>
          </p:cNvPr>
          <p:cNvSpPr/>
          <p:nvPr/>
        </p:nvSpPr>
        <p:spPr>
          <a:xfrm>
            <a:off x="9532868" y="4397109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1" name="圆角矩形 420">
            <a:extLst>
              <a:ext uri="{FF2B5EF4-FFF2-40B4-BE49-F238E27FC236}">
                <a16:creationId xmlns:a16="http://schemas.microsoft.com/office/drawing/2014/main" id="{E0CBF20B-7ACD-0705-2EC9-BBC776B9FB49}"/>
              </a:ext>
            </a:extLst>
          </p:cNvPr>
          <p:cNvSpPr/>
          <p:nvPr/>
        </p:nvSpPr>
        <p:spPr>
          <a:xfrm>
            <a:off x="9210751" y="459132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2" name="圆角矩形 421">
            <a:extLst>
              <a:ext uri="{FF2B5EF4-FFF2-40B4-BE49-F238E27FC236}">
                <a16:creationId xmlns:a16="http://schemas.microsoft.com/office/drawing/2014/main" id="{7ABD4886-99BA-226A-76DE-4002AB24860F}"/>
              </a:ext>
            </a:extLst>
          </p:cNvPr>
          <p:cNvSpPr/>
          <p:nvPr/>
        </p:nvSpPr>
        <p:spPr>
          <a:xfrm>
            <a:off x="9533117" y="4591324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3" name="圆角矩形 422">
            <a:extLst>
              <a:ext uri="{FF2B5EF4-FFF2-40B4-BE49-F238E27FC236}">
                <a16:creationId xmlns:a16="http://schemas.microsoft.com/office/drawing/2014/main" id="{ECBC16AC-6F18-0BA6-BC2E-60E86950C758}"/>
              </a:ext>
            </a:extLst>
          </p:cNvPr>
          <p:cNvSpPr/>
          <p:nvPr/>
        </p:nvSpPr>
        <p:spPr>
          <a:xfrm>
            <a:off x="9488086" y="3926489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24" name="肘形连接符 423">
            <a:extLst>
              <a:ext uri="{FF2B5EF4-FFF2-40B4-BE49-F238E27FC236}">
                <a16:creationId xmlns:a16="http://schemas.microsoft.com/office/drawing/2014/main" id="{F1696550-7B81-1423-94BB-36706FE6605B}"/>
              </a:ext>
            </a:extLst>
          </p:cNvPr>
          <p:cNvCxnSpPr>
            <a:cxnSpLocks/>
            <a:stCxn id="394" idx="2"/>
            <a:endCxn id="395" idx="0"/>
          </p:cNvCxnSpPr>
          <p:nvPr/>
        </p:nvCxnSpPr>
        <p:spPr>
          <a:xfrm rot="16200000" flipH="1">
            <a:off x="9228583" y="4104450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肘形连接符 424">
            <a:extLst>
              <a:ext uri="{FF2B5EF4-FFF2-40B4-BE49-F238E27FC236}">
                <a16:creationId xmlns:a16="http://schemas.microsoft.com/office/drawing/2014/main" id="{E79723E7-0950-DA58-8896-EBCF6C63ECAA}"/>
              </a:ext>
            </a:extLst>
          </p:cNvPr>
          <p:cNvCxnSpPr>
            <a:cxnSpLocks/>
            <a:stCxn id="423" idx="2"/>
            <a:endCxn id="395" idx="0"/>
          </p:cNvCxnSpPr>
          <p:nvPr/>
        </p:nvCxnSpPr>
        <p:spPr>
          <a:xfrm rot="5400000">
            <a:off x="9429390" y="4115203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6" name="矩形 425">
            <a:extLst>
              <a:ext uri="{FF2B5EF4-FFF2-40B4-BE49-F238E27FC236}">
                <a16:creationId xmlns:a16="http://schemas.microsoft.com/office/drawing/2014/main" id="{41D3CD2C-C946-7871-40C3-40A6D5EED363}"/>
              </a:ext>
            </a:extLst>
          </p:cNvPr>
          <p:cNvSpPr/>
          <p:nvPr/>
        </p:nvSpPr>
        <p:spPr>
          <a:xfrm>
            <a:off x="10012000" y="359178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9" name="圆角矩形 428">
            <a:extLst>
              <a:ext uri="{FF2B5EF4-FFF2-40B4-BE49-F238E27FC236}">
                <a16:creationId xmlns:a16="http://schemas.microsoft.com/office/drawing/2014/main" id="{AFBC96AB-28DA-25FA-E3B8-4F3D99BE4C67}"/>
              </a:ext>
            </a:extLst>
          </p:cNvPr>
          <p:cNvSpPr/>
          <p:nvPr/>
        </p:nvSpPr>
        <p:spPr>
          <a:xfrm>
            <a:off x="10063848" y="392213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0" name="矩形 429">
            <a:extLst>
              <a:ext uri="{FF2B5EF4-FFF2-40B4-BE49-F238E27FC236}">
                <a16:creationId xmlns:a16="http://schemas.microsoft.com/office/drawing/2014/main" id="{0E94B89A-1AB0-48AA-D41C-66E50C51941A}"/>
              </a:ext>
            </a:extLst>
          </p:cNvPr>
          <p:cNvSpPr/>
          <p:nvPr/>
        </p:nvSpPr>
        <p:spPr>
          <a:xfrm>
            <a:off x="10063848" y="4338267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31" name="圆角矩形 430">
            <a:extLst>
              <a:ext uri="{FF2B5EF4-FFF2-40B4-BE49-F238E27FC236}">
                <a16:creationId xmlns:a16="http://schemas.microsoft.com/office/drawing/2014/main" id="{3101170B-B18A-2B55-7344-50F3228B0044}"/>
              </a:ext>
            </a:extLst>
          </p:cNvPr>
          <p:cNvSpPr/>
          <p:nvPr/>
        </p:nvSpPr>
        <p:spPr>
          <a:xfrm>
            <a:off x="10177403" y="4392757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2" name="圆角矩形 431">
            <a:extLst>
              <a:ext uri="{FF2B5EF4-FFF2-40B4-BE49-F238E27FC236}">
                <a16:creationId xmlns:a16="http://schemas.microsoft.com/office/drawing/2014/main" id="{69FDFFA9-8CFC-0F29-B594-93685A9B8C04}"/>
              </a:ext>
            </a:extLst>
          </p:cNvPr>
          <p:cNvSpPr/>
          <p:nvPr/>
        </p:nvSpPr>
        <p:spPr>
          <a:xfrm>
            <a:off x="10499520" y="439275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3" name="圆角矩形 432">
            <a:extLst>
              <a:ext uri="{FF2B5EF4-FFF2-40B4-BE49-F238E27FC236}">
                <a16:creationId xmlns:a16="http://schemas.microsoft.com/office/drawing/2014/main" id="{AF13B027-32D9-959D-FB17-5D613C4B58B4}"/>
              </a:ext>
            </a:extLst>
          </p:cNvPr>
          <p:cNvSpPr/>
          <p:nvPr/>
        </p:nvSpPr>
        <p:spPr>
          <a:xfrm>
            <a:off x="10177403" y="4586972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4" name="圆角矩形 433">
            <a:extLst>
              <a:ext uri="{FF2B5EF4-FFF2-40B4-BE49-F238E27FC236}">
                <a16:creationId xmlns:a16="http://schemas.microsoft.com/office/drawing/2014/main" id="{17009E13-7FFF-AFCA-26E0-D0B2B550E2B8}"/>
              </a:ext>
            </a:extLst>
          </p:cNvPr>
          <p:cNvSpPr/>
          <p:nvPr/>
        </p:nvSpPr>
        <p:spPr>
          <a:xfrm>
            <a:off x="10499769" y="4586971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5" name="圆角矩形 434">
            <a:extLst>
              <a:ext uri="{FF2B5EF4-FFF2-40B4-BE49-F238E27FC236}">
                <a16:creationId xmlns:a16="http://schemas.microsoft.com/office/drawing/2014/main" id="{2B99676A-819E-1BDD-5DCD-8D152239A939}"/>
              </a:ext>
            </a:extLst>
          </p:cNvPr>
          <p:cNvSpPr/>
          <p:nvPr/>
        </p:nvSpPr>
        <p:spPr>
          <a:xfrm>
            <a:off x="10454738" y="392213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36" name="肘形连接符 435">
            <a:extLst>
              <a:ext uri="{FF2B5EF4-FFF2-40B4-BE49-F238E27FC236}">
                <a16:creationId xmlns:a16="http://schemas.microsoft.com/office/drawing/2014/main" id="{AF4B0CDC-3468-8168-9777-CE98849EBD3F}"/>
              </a:ext>
            </a:extLst>
          </p:cNvPr>
          <p:cNvCxnSpPr>
            <a:cxnSpLocks/>
            <a:stCxn id="429" idx="2"/>
            <a:endCxn id="430" idx="0"/>
          </p:cNvCxnSpPr>
          <p:nvPr/>
        </p:nvCxnSpPr>
        <p:spPr>
          <a:xfrm rot="16200000" flipH="1">
            <a:off x="10195235" y="4100097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肘形连接符 436">
            <a:extLst>
              <a:ext uri="{FF2B5EF4-FFF2-40B4-BE49-F238E27FC236}">
                <a16:creationId xmlns:a16="http://schemas.microsoft.com/office/drawing/2014/main" id="{A407DF23-1598-A987-EC32-EC4DF9A9F5AF}"/>
              </a:ext>
            </a:extLst>
          </p:cNvPr>
          <p:cNvCxnSpPr>
            <a:cxnSpLocks/>
            <a:stCxn id="435" idx="2"/>
            <a:endCxn id="430" idx="0"/>
          </p:cNvCxnSpPr>
          <p:nvPr/>
        </p:nvCxnSpPr>
        <p:spPr>
          <a:xfrm rot="5400000">
            <a:off x="10396042" y="4110850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肘形连接符 437">
            <a:extLst>
              <a:ext uri="{FF2B5EF4-FFF2-40B4-BE49-F238E27FC236}">
                <a16:creationId xmlns:a16="http://schemas.microsoft.com/office/drawing/2014/main" id="{0E3D024D-91D3-89ED-31AC-5F335D13E4B9}"/>
              </a:ext>
            </a:extLst>
          </p:cNvPr>
          <p:cNvCxnSpPr>
            <a:cxnSpLocks/>
            <a:stCxn id="423" idx="0"/>
            <a:endCxn id="306" idx="3"/>
          </p:cNvCxnSpPr>
          <p:nvPr/>
        </p:nvCxnSpPr>
        <p:spPr>
          <a:xfrm rot="16200000" flipV="1">
            <a:off x="8539101" y="2808783"/>
            <a:ext cx="432893" cy="1802519"/>
          </a:xfrm>
          <a:prstGeom prst="bentConnector2">
            <a:avLst/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肘形连接符 438">
            <a:extLst>
              <a:ext uri="{FF2B5EF4-FFF2-40B4-BE49-F238E27FC236}">
                <a16:creationId xmlns:a16="http://schemas.microsoft.com/office/drawing/2014/main" id="{D10B38E0-7B04-2861-B61C-C358C575DB89}"/>
              </a:ext>
            </a:extLst>
          </p:cNvPr>
          <p:cNvCxnSpPr>
            <a:cxnSpLocks/>
            <a:stCxn id="394" idx="0"/>
            <a:endCxn id="306" idx="3"/>
          </p:cNvCxnSpPr>
          <p:nvPr/>
        </p:nvCxnSpPr>
        <p:spPr>
          <a:xfrm rot="16200000" flipV="1">
            <a:off x="8338294" y="3009590"/>
            <a:ext cx="432893" cy="1400905"/>
          </a:xfrm>
          <a:prstGeom prst="bentConnector2">
            <a:avLst/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肘形连接符 439">
            <a:extLst>
              <a:ext uri="{FF2B5EF4-FFF2-40B4-BE49-F238E27FC236}">
                <a16:creationId xmlns:a16="http://schemas.microsoft.com/office/drawing/2014/main" id="{542E5AA8-6465-104A-5EDD-DABAF2C51856}"/>
              </a:ext>
            </a:extLst>
          </p:cNvPr>
          <p:cNvCxnSpPr>
            <a:cxnSpLocks/>
            <a:stCxn id="429" idx="0"/>
            <a:endCxn id="306" idx="0"/>
          </p:cNvCxnSpPr>
          <p:nvPr/>
        </p:nvCxnSpPr>
        <p:spPr>
          <a:xfrm rot="16200000" flipV="1">
            <a:off x="8669402" y="2369693"/>
            <a:ext cx="535653" cy="2569233"/>
          </a:xfrm>
          <a:prstGeom prst="bentConnector3">
            <a:avLst>
              <a:gd name="adj1" fmla="val 119103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肘形连接符 440">
            <a:extLst>
              <a:ext uri="{FF2B5EF4-FFF2-40B4-BE49-F238E27FC236}">
                <a16:creationId xmlns:a16="http://schemas.microsoft.com/office/drawing/2014/main" id="{C51E7BBF-712B-F192-993F-24C527DFE88E}"/>
              </a:ext>
            </a:extLst>
          </p:cNvPr>
          <p:cNvCxnSpPr>
            <a:cxnSpLocks/>
            <a:stCxn id="435" idx="0"/>
            <a:endCxn id="306" idx="0"/>
          </p:cNvCxnSpPr>
          <p:nvPr/>
        </p:nvCxnSpPr>
        <p:spPr>
          <a:xfrm rot="16200000" flipV="1">
            <a:off x="8870209" y="2168886"/>
            <a:ext cx="535653" cy="2970847"/>
          </a:xfrm>
          <a:prstGeom prst="bentConnector3">
            <a:avLst>
              <a:gd name="adj1" fmla="val 121542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2" name="图片 441">
            <a:extLst>
              <a:ext uri="{FF2B5EF4-FFF2-40B4-BE49-F238E27FC236}">
                <a16:creationId xmlns:a16="http://schemas.microsoft.com/office/drawing/2014/main" id="{4870E1F5-C277-4068-5589-C04455D49B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909" y="1903920"/>
            <a:ext cx="296756" cy="296756"/>
          </a:xfrm>
          <a:prstGeom prst="rect">
            <a:avLst/>
          </a:prstGeom>
        </p:spPr>
      </p:pic>
      <p:sp>
        <p:nvSpPr>
          <p:cNvPr id="443" name="文本框 442">
            <a:extLst>
              <a:ext uri="{FF2B5EF4-FFF2-40B4-BE49-F238E27FC236}">
                <a16:creationId xmlns:a16="http://schemas.microsoft.com/office/drawing/2014/main" id="{DB0A65EE-760F-6565-E773-965B65841E5C}"/>
              </a:ext>
            </a:extLst>
          </p:cNvPr>
          <p:cNvSpPr txBox="1"/>
          <p:nvPr/>
        </p:nvSpPr>
        <p:spPr>
          <a:xfrm>
            <a:off x="1623768" y="2179277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Bamboo Agent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447" name="肘形连接符 446">
            <a:extLst>
              <a:ext uri="{FF2B5EF4-FFF2-40B4-BE49-F238E27FC236}">
                <a16:creationId xmlns:a16="http://schemas.microsoft.com/office/drawing/2014/main" id="{59498F3B-71D8-7241-3504-B272DDC930BE}"/>
              </a:ext>
            </a:extLst>
          </p:cNvPr>
          <p:cNvCxnSpPr>
            <a:cxnSpLocks/>
            <a:stCxn id="442" idx="1"/>
            <a:endCxn id="11" idx="0"/>
          </p:cNvCxnSpPr>
          <p:nvPr/>
        </p:nvCxnSpPr>
        <p:spPr>
          <a:xfrm rot="10800000" flipH="1" flipV="1">
            <a:off x="1670908" y="2052297"/>
            <a:ext cx="214521" cy="1329093"/>
          </a:xfrm>
          <a:prstGeom prst="bentConnector4">
            <a:avLst>
              <a:gd name="adj1" fmla="val -106563"/>
              <a:gd name="adj2" fmla="val 87335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2" name="图形 451" descr="男性形象 纯色填充">
            <a:extLst>
              <a:ext uri="{FF2B5EF4-FFF2-40B4-BE49-F238E27FC236}">
                <a16:creationId xmlns:a16="http://schemas.microsoft.com/office/drawing/2014/main" id="{15EC899A-DF3A-4704-DC50-6D734043B2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6465" y="1921493"/>
            <a:ext cx="256125" cy="261611"/>
          </a:xfrm>
          <a:prstGeom prst="rect">
            <a:avLst/>
          </a:prstGeom>
        </p:spPr>
      </p:pic>
      <p:cxnSp>
        <p:nvCxnSpPr>
          <p:cNvPr id="453" name="直线箭头连接符 452">
            <a:extLst>
              <a:ext uri="{FF2B5EF4-FFF2-40B4-BE49-F238E27FC236}">
                <a16:creationId xmlns:a16="http://schemas.microsoft.com/office/drawing/2014/main" id="{B5D4C745-6385-203B-A072-642D4844EF23}"/>
              </a:ext>
            </a:extLst>
          </p:cNvPr>
          <p:cNvCxnSpPr>
            <a:cxnSpLocks/>
            <a:stCxn id="452" idx="1"/>
            <a:endCxn id="442" idx="3"/>
          </p:cNvCxnSpPr>
          <p:nvPr/>
        </p:nvCxnSpPr>
        <p:spPr>
          <a:xfrm flipH="1" flipV="1">
            <a:off x="1967665" y="2052298"/>
            <a:ext cx="638800" cy="1"/>
          </a:xfrm>
          <a:prstGeom prst="straightConnector1">
            <a:avLst/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" name="文本框 456">
            <a:extLst>
              <a:ext uri="{FF2B5EF4-FFF2-40B4-BE49-F238E27FC236}">
                <a16:creationId xmlns:a16="http://schemas.microsoft.com/office/drawing/2014/main" id="{CC6B59F4-5105-A153-DF1E-7E4E43C827C0}"/>
              </a:ext>
            </a:extLst>
          </p:cNvPr>
          <p:cNvSpPr txBox="1"/>
          <p:nvPr/>
        </p:nvSpPr>
        <p:spPr>
          <a:xfrm>
            <a:off x="2089808" y="2058318"/>
            <a:ext cx="452121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Execute the pipeline</a:t>
            </a: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C52803A8-9D68-A11D-874E-B22C6E3BCB58}"/>
              </a:ext>
            </a:extLst>
          </p:cNvPr>
          <p:cNvSpPr/>
          <p:nvPr/>
        </p:nvSpPr>
        <p:spPr>
          <a:xfrm>
            <a:off x="3726484" y="2623068"/>
            <a:ext cx="2203204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59" name="文本框 458">
            <a:extLst>
              <a:ext uri="{FF2B5EF4-FFF2-40B4-BE49-F238E27FC236}">
                <a16:creationId xmlns:a16="http://schemas.microsoft.com/office/drawing/2014/main" id="{E43173FA-577E-7245-1383-DF2E0AB4C036}"/>
              </a:ext>
            </a:extLst>
          </p:cNvPr>
          <p:cNvSpPr txBox="1"/>
          <p:nvPr/>
        </p:nvSpPr>
        <p:spPr>
          <a:xfrm>
            <a:off x="4677357" y="2645521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60" name="图形 459">
            <a:extLst>
              <a:ext uri="{FF2B5EF4-FFF2-40B4-BE49-F238E27FC236}">
                <a16:creationId xmlns:a16="http://schemas.microsoft.com/office/drawing/2014/main" id="{59400257-A456-8635-156E-E54D3917CC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02710" y="2608327"/>
            <a:ext cx="278181" cy="260137"/>
          </a:xfrm>
          <a:prstGeom prst="rect">
            <a:avLst/>
          </a:prstGeom>
        </p:spPr>
      </p:pic>
      <p:sp>
        <p:nvSpPr>
          <p:cNvPr id="461" name="矩形 460">
            <a:extLst>
              <a:ext uri="{FF2B5EF4-FFF2-40B4-BE49-F238E27FC236}">
                <a16:creationId xmlns:a16="http://schemas.microsoft.com/office/drawing/2014/main" id="{2004AC1A-0EFF-7E8B-317B-5C1130D2377C}"/>
              </a:ext>
            </a:extLst>
          </p:cNvPr>
          <p:cNvSpPr/>
          <p:nvPr/>
        </p:nvSpPr>
        <p:spPr>
          <a:xfrm>
            <a:off x="3821193" y="2903061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62" name="文本框 461">
            <a:extLst>
              <a:ext uri="{FF2B5EF4-FFF2-40B4-BE49-F238E27FC236}">
                <a16:creationId xmlns:a16="http://schemas.microsoft.com/office/drawing/2014/main" id="{2145817F-4DF4-94CF-7760-C5EA12CB0CC2}"/>
              </a:ext>
            </a:extLst>
          </p:cNvPr>
          <p:cNvSpPr txBox="1"/>
          <p:nvPr/>
        </p:nvSpPr>
        <p:spPr>
          <a:xfrm>
            <a:off x="4371150" y="3381391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463" name="文本框 462">
            <a:extLst>
              <a:ext uri="{FF2B5EF4-FFF2-40B4-BE49-F238E27FC236}">
                <a16:creationId xmlns:a16="http://schemas.microsoft.com/office/drawing/2014/main" id="{13A36622-9C8A-4799-C817-A8C5B00A4912}"/>
              </a:ext>
            </a:extLst>
          </p:cNvPr>
          <p:cNvSpPr txBox="1"/>
          <p:nvPr/>
        </p:nvSpPr>
        <p:spPr>
          <a:xfrm>
            <a:off x="3958700" y="2914302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A45B5CFB-15F4-2699-5EF9-50AD53B587E5}"/>
              </a:ext>
            </a:extLst>
          </p:cNvPr>
          <p:cNvSpPr txBox="1"/>
          <p:nvPr/>
        </p:nvSpPr>
        <p:spPr>
          <a:xfrm>
            <a:off x="3880837" y="3379719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BF637138-8C36-287C-24DE-BABE34813490}"/>
              </a:ext>
            </a:extLst>
          </p:cNvPr>
          <p:cNvSpPr txBox="1"/>
          <p:nvPr/>
        </p:nvSpPr>
        <p:spPr>
          <a:xfrm>
            <a:off x="3880837" y="4075047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466" name="文本框 465">
            <a:extLst>
              <a:ext uri="{FF2B5EF4-FFF2-40B4-BE49-F238E27FC236}">
                <a16:creationId xmlns:a16="http://schemas.microsoft.com/office/drawing/2014/main" id="{EB281B37-B459-4CD9-359C-9485D3246355}"/>
              </a:ext>
            </a:extLst>
          </p:cNvPr>
          <p:cNvSpPr txBox="1"/>
          <p:nvPr/>
        </p:nvSpPr>
        <p:spPr>
          <a:xfrm>
            <a:off x="4371150" y="4071053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A3781C78-4C70-39E0-7431-5E669AE8860A}"/>
              </a:ext>
            </a:extLst>
          </p:cNvPr>
          <p:cNvCxnSpPr>
            <a:cxnSpLocks/>
            <a:stCxn id="465" idx="0"/>
            <a:endCxn id="479" idx="3"/>
          </p:cNvCxnSpPr>
          <p:nvPr/>
        </p:nvCxnSpPr>
        <p:spPr>
          <a:xfrm rot="5400000" flipH="1" flipV="1">
            <a:off x="3998122" y="3637721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EC314672-2755-2B61-A63F-F8BC23B62F65}"/>
              </a:ext>
            </a:extLst>
          </p:cNvPr>
          <p:cNvCxnSpPr>
            <a:cxnSpLocks/>
            <a:stCxn id="462" idx="1"/>
            <a:endCxn id="464" idx="3"/>
          </p:cNvCxnSpPr>
          <p:nvPr/>
        </p:nvCxnSpPr>
        <p:spPr>
          <a:xfrm flipH="1" flipV="1">
            <a:off x="4097169" y="3486832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直线箭头连接符 468">
            <a:extLst>
              <a:ext uri="{FF2B5EF4-FFF2-40B4-BE49-F238E27FC236}">
                <a16:creationId xmlns:a16="http://schemas.microsoft.com/office/drawing/2014/main" id="{129C2A50-75A1-8CE8-1A35-AE2924A28D9B}"/>
              </a:ext>
            </a:extLst>
          </p:cNvPr>
          <p:cNvCxnSpPr>
            <a:cxnSpLocks/>
            <a:stCxn id="466" idx="0"/>
            <a:endCxn id="462" idx="2"/>
          </p:cNvCxnSpPr>
          <p:nvPr/>
        </p:nvCxnSpPr>
        <p:spPr>
          <a:xfrm flipV="1">
            <a:off x="4572826" y="3595617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矩形 469">
            <a:extLst>
              <a:ext uri="{FF2B5EF4-FFF2-40B4-BE49-F238E27FC236}">
                <a16:creationId xmlns:a16="http://schemas.microsoft.com/office/drawing/2014/main" id="{11902EA3-AF64-F70E-1CD6-2D1FD724FD15}"/>
              </a:ext>
            </a:extLst>
          </p:cNvPr>
          <p:cNvSpPr/>
          <p:nvPr/>
        </p:nvSpPr>
        <p:spPr>
          <a:xfrm>
            <a:off x="5003266" y="359104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471" name="图形 421">
            <a:extLst>
              <a:ext uri="{FF2B5EF4-FFF2-40B4-BE49-F238E27FC236}">
                <a16:creationId xmlns:a16="http://schemas.microsoft.com/office/drawing/2014/main" id="{BFE08A7A-2036-C322-DECC-7CE04BA890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17255" y="3606552"/>
            <a:ext cx="144493" cy="126675"/>
          </a:xfrm>
          <a:prstGeom prst="rect">
            <a:avLst/>
          </a:prstGeom>
        </p:spPr>
      </p:pic>
      <p:sp>
        <p:nvSpPr>
          <p:cNvPr id="473" name="圆角矩形 472">
            <a:extLst>
              <a:ext uri="{FF2B5EF4-FFF2-40B4-BE49-F238E27FC236}">
                <a16:creationId xmlns:a16="http://schemas.microsoft.com/office/drawing/2014/main" id="{B7A93D38-1190-D0B8-728E-D03743218688}"/>
              </a:ext>
            </a:extLst>
          </p:cNvPr>
          <p:cNvSpPr/>
          <p:nvPr/>
        </p:nvSpPr>
        <p:spPr>
          <a:xfrm>
            <a:off x="5055114" y="392139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74" name="矩形 473">
            <a:extLst>
              <a:ext uri="{FF2B5EF4-FFF2-40B4-BE49-F238E27FC236}">
                <a16:creationId xmlns:a16="http://schemas.microsoft.com/office/drawing/2014/main" id="{05879ED9-1683-85AD-1C98-D3CE7C7D4FCF}"/>
              </a:ext>
            </a:extLst>
          </p:cNvPr>
          <p:cNvSpPr/>
          <p:nvPr/>
        </p:nvSpPr>
        <p:spPr>
          <a:xfrm>
            <a:off x="5055114" y="4333173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75" name="圆角矩形 474">
            <a:extLst>
              <a:ext uri="{FF2B5EF4-FFF2-40B4-BE49-F238E27FC236}">
                <a16:creationId xmlns:a16="http://schemas.microsoft.com/office/drawing/2014/main" id="{DA023B46-CA20-C67A-9BBA-4C4860F79E36}"/>
              </a:ext>
            </a:extLst>
          </p:cNvPr>
          <p:cNvSpPr/>
          <p:nvPr/>
        </p:nvSpPr>
        <p:spPr>
          <a:xfrm>
            <a:off x="5083197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76" name="圆角矩形 475">
            <a:extLst>
              <a:ext uri="{FF2B5EF4-FFF2-40B4-BE49-F238E27FC236}">
                <a16:creationId xmlns:a16="http://schemas.microsoft.com/office/drawing/2014/main" id="{C0186FE4-EDA1-14BB-CDE0-7EABF7611D3C}"/>
              </a:ext>
            </a:extLst>
          </p:cNvPr>
          <p:cNvSpPr/>
          <p:nvPr/>
        </p:nvSpPr>
        <p:spPr>
          <a:xfrm>
            <a:off x="5446004" y="392139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77" name="肘形连接符 476">
            <a:extLst>
              <a:ext uri="{FF2B5EF4-FFF2-40B4-BE49-F238E27FC236}">
                <a16:creationId xmlns:a16="http://schemas.microsoft.com/office/drawing/2014/main" id="{533B81B2-80DD-68DD-3A50-28C4EE08B4F7}"/>
              </a:ext>
            </a:extLst>
          </p:cNvPr>
          <p:cNvCxnSpPr>
            <a:cxnSpLocks/>
            <a:stCxn id="473" idx="0"/>
            <a:endCxn id="478" idx="5"/>
          </p:cNvCxnSpPr>
          <p:nvPr/>
        </p:nvCxnSpPr>
        <p:spPr>
          <a:xfrm rot="16200000" flipV="1">
            <a:off x="4778732" y="3487018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椭圆 477">
            <a:extLst>
              <a:ext uri="{FF2B5EF4-FFF2-40B4-BE49-F238E27FC236}">
                <a16:creationId xmlns:a16="http://schemas.microsoft.com/office/drawing/2014/main" id="{8B6BA960-8A51-06D4-3754-1EA82F9C872D}"/>
              </a:ext>
            </a:extLst>
          </p:cNvPr>
          <p:cNvSpPr/>
          <p:nvPr/>
        </p:nvSpPr>
        <p:spPr>
          <a:xfrm>
            <a:off x="4655062" y="3579959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79" name="椭圆 478">
            <a:extLst>
              <a:ext uri="{FF2B5EF4-FFF2-40B4-BE49-F238E27FC236}">
                <a16:creationId xmlns:a16="http://schemas.microsoft.com/office/drawing/2014/main" id="{B96B85C5-3F4D-42F8-8813-B508E565A16B}"/>
              </a:ext>
            </a:extLst>
          </p:cNvPr>
          <p:cNvSpPr/>
          <p:nvPr/>
        </p:nvSpPr>
        <p:spPr>
          <a:xfrm>
            <a:off x="4432812" y="3576784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480" name="肘形连接符 479">
            <a:extLst>
              <a:ext uri="{FF2B5EF4-FFF2-40B4-BE49-F238E27FC236}">
                <a16:creationId xmlns:a16="http://schemas.microsoft.com/office/drawing/2014/main" id="{606B13C1-5AD8-DD7E-29BF-E598327267B1}"/>
              </a:ext>
            </a:extLst>
          </p:cNvPr>
          <p:cNvCxnSpPr>
            <a:cxnSpLocks/>
            <a:stCxn id="476" idx="0"/>
            <a:endCxn id="478" idx="5"/>
          </p:cNvCxnSpPr>
          <p:nvPr/>
        </p:nvCxnSpPr>
        <p:spPr>
          <a:xfrm rot="16200000" flipV="1">
            <a:off x="4979539" y="3286211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F5E989F4-7C04-6657-EF40-71180A44F56B}"/>
              </a:ext>
            </a:extLst>
          </p:cNvPr>
          <p:cNvCxnSpPr>
            <a:cxnSpLocks/>
            <a:stCxn id="473" idx="2"/>
            <a:endCxn id="474" idx="0"/>
          </p:cNvCxnSpPr>
          <p:nvPr/>
        </p:nvCxnSpPr>
        <p:spPr>
          <a:xfrm rot="16200000" flipH="1">
            <a:off x="5188678" y="4097180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肘形连接符 481">
            <a:extLst>
              <a:ext uri="{FF2B5EF4-FFF2-40B4-BE49-F238E27FC236}">
                <a16:creationId xmlns:a16="http://schemas.microsoft.com/office/drawing/2014/main" id="{7047CB1E-E857-2AA9-36AA-09FA4E6D4B0A}"/>
              </a:ext>
            </a:extLst>
          </p:cNvPr>
          <p:cNvCxnSpPr>
            <a:cxnSpLocks/>
            <a:stCxn id="476" idx="2"/>
            <a:endCxn id="474" idx="0"/>
          </p:cNvCxnSpPr>
          <p:nvPr/>
        </p:nvCxnSpPr>
        <p:spPr>
          <a:xfrm rot="5400000">
            <a:off x="5389485" y="4107933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3" name="圆角矩形 482">
            <a:extLst>
              <a:ext uri="{FF2B5EF4-FFF2-40B4-BE49-F238E27FC236}">
                <a16:creationId xmlns:a16="http://schemas.microsoft.com/office/drawing/2014/main" id="{2E6C6728-0DB1-6935-B462-F076BD550A4A}"/>
              </a:ext>
            </a:extLst>
          </p:cNvPr>
          <p:cNvSpPr/>
          <p:nvPr/>
        </p:nvSpPr>
        <p:spPr>
          <a:xfrm>
            <a:off x="5529934" y="440813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84" name="圆角矩形 483">
            <a:extLst>
              <a:ext uri="{FF2B5EF4-FFF2-40B4-BE49-F238E27FC236}">
                <a16:creationId xmlns:a16="http://schemas.microsoft.com/office/drawing/2014/main" id="{1646F99F-0CA6-8925-0EA3-0C072C459BEB}"/>
              </a:ext>
            </a:extLst>
          </p:cNvPr>
          <p:cNvSpPr/>
          <p:nvPr/>
        </p:nvSpPr>
        <p:spPr>
          <a:xfrm>
            <a:off x="5163476" y="460384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85" name="圆角矩形 484">
            <a:extLst>
              <a:ext uri="{FF2B5EF4-FFF2-40B4-BE49-F238E27FC236}">
                <a16:creationId xmlns:a16="http://schemas.microsoft.com/office/drawing/2014/main" id="{35540255-C349-45E5-1C2D-E5AED68AEE26}"/>
              </a:ext>
            </a:extLst>
          </p:cNvPr>
          <p:cNvSpPr/>
          <p:nvPr/>
        </p:nvSpPr>
        <p:spPr>
          <a:xfrm>
            <a:off x="5529934" y="45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90" name="曲线连接符 489">
            <a:extLst>
              <a:ext uri="{FF2B5EF4-FFF2-40B4-BE49-F238E27FC236}">
                <a16:creationId xmlns:a16="http://schemas.microsoft.com/office/drawing/2014/main" id="{C32A06D4-86DF-39CB-AE0A-4178F8A7E97B}"/>
              </a:ext>
            </a:extLst>
          </p:cNvPr>
          <p:cNvCxnSpPr>
            <a:cxnSpLocks/>
            <a:stCxn id="475" idx="1"/>
          </p:cNvCxnSpPr>
          <p:nvPr/>
        </p:nvCxnSpPr>
        <p:spPr>
          <a:xfrm rot="10800000">
            <a:off x="4726271" y="3606553"/>
            <a:ext cx="356926" cy="861077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曲线连接符 492">
            <a:extLst>
              <a:ext uri="{FF2B5EF4-FFF2-40B4-BE49-F238E27FC236}">
                <a16:creationId xmlns:a16="http://schemas.microsoft.com/office/drawing/2014/main" id="{3C6AC560-3297-B18A-7EC9-40B940BA8BAE}"/>
              </a:ext>
            </a:extLst>
          </p:cNvPr>
          <p:cNvCxnSpPr>
            <a:cxnSpLocks/>
            <a:stCxn id="462" idx="3"/>
            <a:endCxn id="483" idx="1"/>
          </p:cNvCxnSpPr>
          <p:nvPr/>
        </p:nvCxnSpPr>
        <p:spPr>
          <a:xfrm>
            <a:off x="4774503" y="3488504"/>
            <a:ext cx="755431" cy="986366"/>
          </a:xfrm>
          <a:prstGeom prst="curvedConnector3">
            <a:avLst>
              <a:gd name="adj1" fmla="val 85096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6" name="文本框 495">
            <a:extLst>
              <a:ext uri="{FF2B5EF4-FFF2-40B4-BE49-F238E27FC236}">
                <a16:creationId xmlns:a16="http://schemas.microsoft.com/office/drawing/2014/main" id="{B65189B4-DC61-1E7E-6E47-CDD1FE4CE3F3}"/>
              </a:ext>
            </a:extLst>
          </p:cNvPr>
          <p:cNvSpPr txBox="1"/>
          <p:nvPr/>
        </p:nvSpPr>
        <p:spPr>
          <a:xfrm>
            <a:off x="1039087" y="4999037"/>
            <a:ext cx="2460631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1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Install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Installer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via Bamboo Pipeline with Helm mode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497" name="圆角矩形 496">
            <a:extLst>
              <a:ext uri="{FF2B5EF4-FFF2-40B4-BE49-F238E27FC236}">
                <a16:creationId xmlns:a16="http://schemas.microsoft.com/office/drawing/2014/main" id="{D2305E20-EDCB-5904-BD5E-ED5839D202B9}"/>
              </a:ext>
            </a:extLst>
          </p:cNvPr>
          <p:cNvSpPr/>
          <p:nvPr/>
        </p:nvSpPr>
        <p:spPr>
          <a:xfrm>
            <a:off x="8176058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4A32539C-48C4-94D0-E881-B85C1582BB16}"/>
              </a:ext>
            </a:extLst>
          </p:cNvPr>
          <p:cNvSpPr/>
          <p:nvPr/>
        </p:nvSpPr>
        <p:spPr>
          <a:xfrm>
            <a:off x="8622795" y="4408135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07D02F89-0FDC-15D3-9B86-FE31E02D0E24}"/>
              </a:ext>
            </a:extLst>
          </p:cNvPr>
          <p:cNvSpPr/>
          <p:nvPr/>
        </p:nvSpPr>
        <p:spPr>
          <a:xfrm>
            <a:off x="8256337" y="4603846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00" name="圆角矩形 499">
            <a:extLst>
              <a:ext uri="{FF2B5EF4-FFF2-40B4-BE49-F238E27FC236}">
                <a16:creationId xmlns:a16="http://schemas.microsoft.com/office/drawing/2014/main" id="{E2FD96CC-E45B-75B7-0E5B-4CF250754079}"/>
              </a:ext>
            </a:extLst>
          </p:cNvPr>
          <p:cNvSpPr/>
          <p:nvPr/>
        </p:nvSpPr>
        <p:spPr>
          <a:xfrm>
            <a:off x="8622795" y="4597110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501" name="曲线连接符 500">
            <a:extLst>
              <a:ext uri="{FF2B5EF4-FFF2-40B4-BE49-F238E27FC236}">
                <a16:creationId xmlns:a16="http://schemas.microsoft.com/office/drawing/2014/main" id="{292A75BA-7C69-7E5E-8AD9-C2099AF416CB}"/>
              </a:ext>
            </a:extLst>
          </p:cNvPr>
          <p:cNvCxnSpPr>
            <a:cxnSpLocks/>
            <a:stCxn id="499" idx="1"/>
          </p:cNvCxnSpPr>
          <p:nvPr/>
        </p:nvCxnSpPr>
        <p:spPr>
          <a:xfrm rot="10800000">
            <a:off x="7821325" y="3599041"/>
            <a:ext cx="435012" cy="1071540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曲线连接符 503">
            <a:extLst>
              <a:ext uri="{FF2B5EF4-FFF2-40B4-BE49-F238E27FC236}">
                <a16:creationId xmlns:a16="http://schemas.microsoft.com/office/drawing/2014/main" id="{CA84AB2B-0C65-426B-3EB4-E413579A2840}"/>
              </a:ext>
            </a:extLst>
          </p:cNvPr>
          <p:cNvCxnSpPr>
            <a:cxnSpLocks/>
            <a:endCxn id="395" idx="3"/>
          </p:cNvCxnSpPr>
          <p:nvPr/>
        </p:nvCxnSpPr>
        <p:spPr>
          <a:xfrm>
            <a:off x="7864161" y="3445357"/>
            <a:ext cx="1972147" cy="1109002"/>
          </a:xfrm>
          <a:prstGeom prst="curvedConnector3">
            <a:avLst>
              <a:gd name="adj1" fmla="val 11159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曲线连接符 505">
            <a:extLst>
              <a:ext uri="{FF2B5EF4-FFF2-40B4-BE49-F238E27FC236}">
                <a16:creationId xmlns:a16="http://schemas.microsoft.com/office/drawing/2014/main" id="{38160C9F-FA8B-F8DB-166C-8DE25B37E255}"/>
              </a:ext>
            </a:extLst>
          </p:cNvPr>
          <p:cNvCxnSpPr>
            <a:cxnSpLocks/>
            <a:endCxn id="430" idx="3"/>
          </p:cNvCxnSpPr>
          <p:nvPr/>
        </p:nvCxnSpPr>
        <p:spPr>
          <a:xfrm>
            <a:off x="7849620" y="3424262"/>
            <a:ext cx="2953340" cy="1125744"/>
          </a:xfrm>
          <a:prstGeom prst="curvedConnector3">
            <a:avLst>
              <a:gd name="adj1" fmla="val 107740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9" name="图形 508">
            <a:extLst>
              <a:ext uri="{FF2B5EF4-FFF2-40B4-BE49-F238E27FC236}">
                <a16:creationId xmlns:a16="http://schemas.microsoft.com/office/drawing/2014/main" id="{0D573E74-F7EC-DA00-4C99-CBEFC4887B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67580" y="1946018"/>
            <a:ext cx="212561" cy="212561"/>
          </a:xfrm>
          <a:prstGeom prst="rect">
            <a:avLst/>
          </a:prstGeom>
        </p:spPr>
      </p:pic>
      <p:pic>
        <p:nvPicPr>
          <p:cNvPr id="510" name="图形 509" descr="男性形象 纯色填充">
            <a:extLst>
              <a:ext uri="{FF2B5EF4-FFF2-40B4-BE49-F238E27FC236}">
                <a16:creationId xmlns:a16="http://schemas.microsoft.com/office/drawing/2014/main" id="{03493635-5BAA-8CBC-55A7-405AF4D9C6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82385" y="1921493"/>
            <a:ext cx="256125" cy="261611"/>
          </a:xfrm>
          <a:prstGeom prst="rect">
            <a:avLst/>
          </a:prstGeom>
        </p:spPr>
      </p:pic>
      <p:cxnSp>
        <p:nvCxnSpPr>
          <p:cNvPr id="511" name="肘形连接符 510">
            <a:extLst>
              <a:ext uri="{FF2B5EF4-FFF2-40B4-BE49-F238E27FC236}">
                <a16:creationId xmlns:a16="http://schemas.microsoft.com/office/drawing/2014/main" id="{463BD4CF-6941-3B1C-7CDC-52C2F3504CE1}"/>
              </a:ext>
            </a:extLst>
          </p:cNvPr>
          <p:cNvCxnSpPr>
            <a:cxnSpLocks/>
            <a:stCxn id="509" idx="2"/>
            <a:endCxn id="314" idx="2"/>
          </p:cNvCxnSpPr>
          <p:nvPr/>
        </p:nvCxnSpPr>
        <p:spPr>
          <a:xfrm rot="16200000" flipH="1">
            <a:off x="6208047" y="2524393"/>
            <a:ext cx="2659477" cy="1927848"/>
          </a:xfrm>
          <a:prstGeom prst="bentConnector3">
            <a:avLst>
              <a:gd name="adj1" fmla="val 108596"/>
            </a:avLst>
          </a:prstGeom>
          <a:ln w="15875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5" name="文本框 514">
            <a:extLst>
              <a:ext uri="{FF2B5EF4-FFF2-40B4-BE49-F238E27FC236}">
                <a16:creationId xmlns:a16="http://schemas.microsoft.com/office/drawing/2014/main" id="{5F83E0AA-69E2-A02A-BD34-36B2CCB0419F}"/>
              </a:ext>
            </a:extLst>
          </p:cNvPr>
          <p:cNvSpPr txBox="1"/>
          <p:nvPr/>
        </p:nvSpPr>
        <p:spPr>
          <a:xfrm>
            <a:off x="6658561" y="1945180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ZCM Portal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516" name="直线箭头连接符 515">
            <a:extLst>
              <a:ext uri="{FF2B5EF4-FFF2-40B4-BE49-F238E27FC236}">
                <a16:creationId xmlns:a16="http://schemas.microsoft.com/office/drawing/2014/main" id="{03031EF3-9842-59B1-061D-223CCC49EB15}"/>
              </a:ext>
            </a:extLst>
          </p:cNvPr>
          <p:cNvCxnSpPr>
            <a:cxnSpLocks/>
            <a:stCxn id="510" idx="3"/>
            <a:endCxn id="509" idx="1"/>
          </p:cNvCxnSpPr>
          <p:nvPr/>
        </p:nvCxnSpPr>
        <p:spPr>
          <a:xfrm>
            <a:off x="5838510" y="2052299"/>
            <a:ext cx="629070" cy="0"/>
          </a:xfrm>
          <a:prstGeom prst="straightConnector1">
            <a:avLst/>
          </a:prstGeom>
          <a:ln w="15875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文本框 518">
            <a:extLst>
              <a:ext uri="{FF2B5EF4-FFF2-40B4-BE49-F238E27FC236}">
                <a16:creationId xmlns:a16="http://schemas.microsoft.com/office/drawing/2014/main" id="{B254BE3A-23C8-0940-F1BC-F79B0D4FB015}"/>
              </a:ext>
            </a:extLst>
          </p:cNvPr>
          <p:cNvSpPr txBox="1"/>
          <p:nvPr/>
        </p:nvSpPr>
        <p:spPr>
          <a:xfrm>
            <a:off x="3627060" y="4999037"/>
            <a:ext cx="2326408" cy="8925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2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Installer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auto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install the whole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  <a:endParaRPr kumimoji="1" lang="zh-SG" altLang="en-US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520" name="文本框 519">
            <a:extLst>
              <a:ext uri="{FF2B5EF4-FFF2-40B4-BE49-F238E27FC236}">
                <a16:creationId xmlns:a16="http://schemas.microsoft.com/office/drawing/2014/main" id="{67B7D6EA-821C-91CF-8E43-BC0811F6E646}"/>
              </a:ext>
            </a:extLst>
          </p:cNvPr>
          <p:cNvSpPr txBox="1"/>
          <p:nvPr/>
        </p:nvSpPr>
        <p:spPr>
          <a:xfrm>
            <a:off x="6732403" y="4999037"/>
            <a:ext cx="4468047" cy="10427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3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1. Login to the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orta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to start the Fusion SaaS &amp; PaaS Initial Installation.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2.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 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will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do the Fusion SaaS &amp; PaaS deployment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8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PS: Day-2 Operation also will use this flow to process</a:t>
            </a:r>
            <a:endParaRPr kumimoji="1" lang="zh-SG" altLang="en-US" sz="8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529" name="文本框 528">
            <a:extLst>
              <a:ext uri="{FF2B5EF4-FFF2-40B4-BE49-F238E27FC236}">
                <a16:creationId xmlns:a16="http://schemas.microsoft.com/office/drawing/2014/main" id="{7D2FE623-26EC-8BCF-722B-A3E43B3E3858}"/>
              </a:ext>
            </a:extLst>
          </p:cNvPr>
          <p:cNvSpPr txBox="1"/>
          <p:nvPr/>
        </p:nvSpPr>
        <p:spPr>
          <a:xfrm>
            <a:off x="5818464" y="2134530"/>
            <a:ext cx="643537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Login to</a:t>
            </a:r>
            <a:b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</a:b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ZCM to do the Fusion Deployment</a:t>
            </a:r>
          </a:p>
        </p:txBody>
      </p:sp>
      <p:sp>
        <p:nvSpPr>
          <p:cNvPr id="530" name="文本框 529">
            <a:extLst>
              <a:ext uri="{FF2B5EF4-FFF2-40B4-BE49-F238E27FC236}">
                <a16:creationId xmlns:a16="http://schemas.microsoft.com/office/drawing/2014/main" id="{AD3A6A87-BF89-2E19-3E59-CA6035696615}"/>
              </a:ext>
            </a:extLst>
          </p:cNvPr>
          <p:cNvSpPr txBox="1"/>
          <p:nvPr/>
        </p:nvSpPr>
        <p:spPr>
          <a:xfrm>
            <a:off x="9174903" y="3572229"/>
            <a:ext cx="65072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S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31" name="文本框 530">
            <a:extLst>
              <a:ext uri="{FF2B5EF4-FFF2-40B4-BE49-F238E27FC236}">
                <a16:creationId xmlns:a16="http://schemas.microsoft.com/office/drawing/2014/main" id="{C9B3294E-5690-DD00-868E-F8D87556AF79}"/>
              </a:ext>
            </a:extLst>
          </p:cNvPr>
          <p:cNvSpPr txBox="1"/>
          <p:nvPr/>
        </p:nvSpPr>
        <p:spPr>
          <a:xfrm>
            <a:off x="10145909" y="3572229"/>
            <a:ext cx="649352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P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pic>
        <p:nvPicPr>
          <p:cNvPr id="532" name="图形 421">
            <a:extLst>
              <a:ext uri="{FF2B5EF4-FFF2-40B4-BE49-F238E27FC236}">
                <a16:creationId xmlns:a16="http://schemas.microsoft.com/office/drawing/2014/main" id="{F5ADA677-D33F-DAED-21A8-B10CF0859A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25989" y="3607292"/>
            <a:ext cx="144493" cy="126675"/>
          </a:xfrm>
          <a:prstGeom prst="rect">
            <a:avLst/>
          </a:prstGeom>
        </p:spPr>
      </p:pic>
      <p:sp>
        <p:nvSpPr>
          <p:cNvPr id="533" name="文本框 532">
            <a:extLst>
              <a:ext uri="{FF2B5EF4-FFF2-40B4-BE49-F238E27FC236}">
                <a16:creationId xmlns:a16="http://schemas.microsoft.com/office/drawing/2014/main" id="{34C8B6BA-6EE4-849C-882A-67CAA6CF4347}"/>
              </a:ext>
            </a:extLst>
          </p:cNvPr>
          <p:cNvSpPr txBox="1"/>
          <p:nvPr/>
        </p:nvSpPr>
        <p:spPr>
          <a:xfrm>
            <a:off x="5132821" y="3567137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665" name="十边形 664">
            <a:extLst>
              <a:ext uri="{FF2B5EF4-FFF2-40B4-BE49-F238E27FC236}">
                <a16:creationId xmlns:a16="http://schemas.microsoft.com/office/drawing/2014/main" id="{4A5F14F5-DACF-2840-73CD-06DB029DCB3F}"/>
              </a:ext>
            </a:extLst>
          </p:cNvPr>
          <p:cNvSpPr/>
          <p:nvPr/>
        </p:nvSpPr>
        <p:spPr>
          <a:xfrm>
            <a:off x="4841662" y="410637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6" name="十边形 665">
            <a:extLst>
              <a:ext uri="{FF2B5EF4-FFF2-40B4-BE49-F238E27FC236}">
                <a16:creationId xmlns:a16="http://schemas.microsoft.com/office/drawing/2014/main" id="{18B921DD-70AA-B787-4F5E-90DA188718FA}"/>
              </a:ext>
            </a:extLst>
          </p:cNvPr>
          <p:cNvSpPr/>
          <p:nvPr/>
        </p:nvSpPr>
        <p:spPr>
          <a:xfrm>
            <a:off x="5442869" y="4111971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8" name="十边形 667">
            <a:extLst>
              <a:ext uri="{FF2B5EF4-FFF2-40B4-BE49-F238E27FC236}">
                <a16:creationId xmlns:a16="http://schemas.microsoft.com/office/drawing/2014/main" id="{ABA06CD2-A9BC-8243-42C9-C1BA37608255}"/>
              </a:ext>
            </a:extLst>
          </p:cNvPr>
          <p:cNvSpPr/>
          <p:nvPr/>
        </p:nvSpPr>
        <p:spPr>
          <a:xfrm>
            <a:off x="7930198" y="4149722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9" name="十边形 668">
            <a:extLst>
              <a:ext uri="{FF2B5EF4-FFF2-40B4-BE49-F238E27FC236}">
                <a16:creationId xmlns:a16="http://schemas.microsoft.com/office/drawing/2014/main" id="{8736084D-3385-27C6-9AEC-9E4CBFA76445}"/>
              </a:ext>
            </a:extLst>
          </p:cNvPr>
          <p:cNvSpPr/>
          <p:nvPr/>
        </p:nvSpPr>
        <p:spPr>
          <a:xfrm>
            <a:off x="9940755" y="415112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0" name="十边形 669">
            <a:extLst>
              <a:ext uri="{FF2B5EF4-FFF2-40B4-BE49-F238E27FC236}">
                <a16:creationId xmlns:a16="http://schemas.microsoft.com/office/drawing/2014/main" id="{3994F8EC-F476-D287-5830-24C6CA1F7D80}"/>
              </a:ext>
            </a:extLst>
          </p:cNvPr>
          <p:cNvSpPr/>
          <p:nvPr/>
        </p:nvSpPr>
        <p:spPr>
          <a:xfrm>
            <a:off x="10905484" y="415112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1" name="右箭头 670">
            <a:extLst>
              <a:ext uri="{FF2B5EF4-FFF2-40B4-BE49-F238E27FC236}">
                <a16:creationId xmlns:a16="http://schemas.microsoft.com/office/drawing/2014/main" id="{6A3C4371-1C99-714A-EA51-A729480435D1}"/>
              </a:ext>
            </a:extLst>
          </p:cNvPr>
          <p:cNvSpPr/>
          <p:nvPr/>
        </p:nvSpPr>
        <p:spPr>
          <a:xfrm>
            <a:off x="3349430" y="3533907"/>
            <a:ext cx="290620" cy="484632"/>
          </a:xfrm>
          <a:prstGeom prst="rightArrow">
            <a:avLst/>
          </a:prstGeom>
          <a:solidFill>
            <a:srgbClr val="DEEE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sp>
        <p:nvSpPr>
          <p:cNvPr id="672" name="右箭头 671">
            <a:extLst>
              <a:ext uri="{FF2B5EF4-FFF2-40B4-BE49-F238E27FC236}">
                <a16:creationId xmlns:a16="http://schemas.microsoft.com/office/drawing/2014/main" id="{98D7A25E-DF26-7655-C858-40B354C4F82D}"/>
              </a:ext>
            </a:extLst>
          </p:cNvPr>
          <p:cNvSpPr/>
          <p:nvPr/>
        </p:nvSpPr>
        <p:spPr>
          <a:xfrm>
            <a:off x="6220179" y="3533907"/>
            <a:ext cx="290620" cy="484632"/>
          </a:xfrm>
          <a:prstGeom prst="rightArrow">
            <a:avLst/>
          </a:prstGeom>
          <a:solidFill>
            <a:srgbClr val="DEEE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E7C1713-9578-7ACC-53D8-3D5B41185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04034" y="2176283"/>
            <a:ext cx="462375" cy="23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022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D7792-6725-6934-918D-4BB7B98DB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Google Shape;45;p2">
            <a:extLst>
              <a:ext uri="{FF2B5EF4-FFF2-40B4-BE49-F238E27FC236}">
                <a16:creationId xmlns:a16="http://schemas.microsoft.com/office/drawing/2014/main" id="{ADFC165B-8403-31BE-BB11-386EE5C0878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44218" y="983678"/>
          <a:ext cx="11664016" cy="4874186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082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5"/>
                    </a:ext>
                  </a:extLst>
                </a:gridCol>
              </a:tblGrid>
              <a:tr h="276275"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5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1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am-6pm</a:t>
                      </a:r>
                      <a:endParaRPr sz="11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5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454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73" name="Straight Connector 7">
            <a:extLst>
              <a:ext uri="{FF2B5EF4-FFF2-40B4-BE49-F238E27FC236}">
                <a16:creationId xmlns:a16="http://schemas.microsoft.com/office/drawing/2014/main" id="{8ED26D5F-0AF5-A53A-EFE5-A9041A90A5EF}"/>
              </a:ext>
            </a:extLst>
          </p:cNvPr>
          <p:cNvCxnSpPr>
            <a:cxnSpLocks/>
            <a:stCxn id="180" idx="1"/>
          </p:cNvCxnSpPr>
          <p:nvPr/>
        </p:nvCxnSpPr>
        <p:spPr>
          <a:xfrm flipH="1">
            <a:off x="6064784" y="4369061"/>
            <a:ext cx="7248" cy="745543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圆角矩形 94">
            <a:extLst>
              <a:ext uri="{FF2B5EF4-FFF2-40B4-BE49-F238E27FC236}">
                <a16:creationId xmlns:a16="http://schemas.microsoft.com/office/drawing/2014/main" id="{4ABA43C0-2556-96A3-8E4F-4D65BD21FE3A}"/>
              </a:ext>
            </a:extLst>
          </p:cNvPr>
          <p:cNvSpPr/>
          <p:nvPr/>
        </p:nvSpPr>
        <p:spPr>
          <a:xfrm>
            <a:off x="6277595" y="4600308"/>
            <a:ext cx="3131452" cy="1261765"/>
          </a:xfrm>
          <a:prstGeom prst="roundRect">
            <a:avLst>
              <a:gd name="adj" fmla="val 4310"/>
            </a:avLst>
          </a:prstGeom>
          <a:solidFill>
            <a:schemeClr val="accent2">
              <a:alpha val="14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97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78" name="Rectangle 23">
            <a:extLst>
              <a:ext uri="{FF2B5EF4-FFF2-40B4-BE49-F238E27FC236}">
                <a16:creationId xmlns:a16="http://schemas.microsoft.com/office/drawing/2014/main" id="{66B522E6-336B-7BCF-E0A6-DEC3EE9583A2}"/>
              </a:ext>
            </a:extLst>
          </p:cNvPr>
          <p:cNvSpPr/>
          <p:nvPr/>
        </p:nvSpPr>
        <p:spPr>
          <a:xfrm>
            <a:off x="6692971" y="5368799"/>
            <a:ext cx="1267688" cy="193626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5hr - </a:t>
            </a:r>
            <a:r>
              <a:rPr lang="en-US" sz="849" b="1" dirty="0">
                <a:solidFill>
                  <a:srgbClr val="FF5D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nity Test</a:t>
            </a:r>
          </a:p>
        </p:txBody>
      </p:sp>
      <p:sp>
        <p:nvSpPr>
          <p:cNvPr id="179" name="Rectangle 23">
            <a:extLst>
              <a:ext uri="{FF2B5EF4-FFF2-40B4-BE49-F238E27FC236}">
                <a16:creationId xmlns:a16="http://schemas.microsoft.com/office/drawing/2014/main" id="{C2EE3B41-1D21-B05F-CFF1-2FEE4E82CB69}"/>
              </a:ext>
            </a:extLst>
          </p:cNvPr>
          <p:cNvSpPr/>
          <p:nvPr/>
        </p:nvSpPr>
        <p:spPr>
          <a:xfrm>
            <a:off x="7960659" y="5618183"/>
            <a:ext cx="1462884" cy="195675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srgbClr val="FF5D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Monitoring</a:t>
            </a:r>
          </a:p>
        </p:txBody>
      </p:sp>
      <p:sp>
        <p:nvSpPr>
          <p:cNvPr id="180" name="Rectangle 24">
            <a:extLst>
              <a:ext uri="{FF2B5EF4-FFF2-40B4-BE49-F238E27FC236}">
                <a16:creationId xmlns:a16="http://schemas.microsoft.com/office/drawing/2014/main" id="{A030A955-EBCF-8034-34FB-1BF4C318371A}"/>
              </a:ext>
            </a:extLst>
          </p:cNvPr>
          <p:cNvSpPr/>
          <p:nvPr/>
        </p:nvSpPr>
        <p:spPr>
          <a:xfrm>
            <a:off x="6072031" y="4080845"/>
            <a:ext cx="222250" cy="576432"/>
          </a:xfrm>
          <a:prstGeom prst="rect">
            <a:avLst/>
          </a:prstGeom>
          <a:solidFill>
            <a:srgbClr val="F0193D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r>
              <a:rPr lang="en-US" sz="849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NG #2</a:t>
            </a:r>
          </a:p>
        </p:txBody>
      </p:sp>
      <p:sp>
        <p:nvSpPr>
          <p:cNvPr id="181" name="Rectangle 23">
            <a:extLst>
              <a:ext uri="{FF2B5EF4-FFF2-40B4-BE49-F238E27FC236}">
                <a16:creationId xmlns:a16="http://schemas.microsoft.com/office/drawing/2014/main" id="{0C4FB31F-A6FE-DA97-8333-B4BDC10A7C34}"/>
              </a:ext>
            </a:extLst>
          </p:cNvPr>
          <p:cNvSpPr/>
          <p:nvPr/>
        </p:nvSpPr>
        <p:spPr>
          <a:xfrm>
            <a:off x="6299845" y="4377289"/>
            <a:ext cx="3123698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srgbClr val="FE86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Monitoring</a:t>
            </a:r>
          </a:p>
        </p:txBody>
      </p:sp>
      <p:sp>
        <p:nvSpPr>
          <p:cNvPr id="182" name="矩形 84">
            <a:extLst>
              <a:ext uri="{FF2B5EF4-FFF2-40B4-BE49-F238E27FC236}">
                <a16:creationId xmlns:a16="http://schemas.microsoft.com/office/drawing/2014/main" id="{F320E392-B5AC-D06B-43DE-80A73C0F9F54}"/>
              </a:ext>
            </a:extLst>
          </p:cNvPr>
          <p:cNvSpPr/>
          <p:nvPr/>
        </p:nvSpPr>
        <p:spPr>
          <a:xfrm>
            <a:off x="5844770" y="4577759"/>
            <a:ext cx="446372" cy="540148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/>
          <a:p>
            <a:pPr marL="171353" indent="-171353" algn="r" defTabSz="838284">
              <a:defRPr/>
            </a:pPr>
            <a:r>
              <a:rPr lang="en-US" altLang="zh-CN" sz="970" b="1" dirty="0">
                <a:solidFill>
                  <a:srgbClr val="FF000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No Go</a:t>
            </a:r>
          </a:p>
        </p:txBody>
      </p:sp>
      <p:sp>
        <p:nvSpPr>
          <p:cNvPr id="183" name="矩形 86">
            <a:extLst>
              <a:ext uri="{FF2B5EF4-FFF2-40B4-BE49-F238E27FC236}">
                <a16:creationId xmlns:a16="http://schemas.microsoft.com/office/drawing/2014/main" id="{AA2E58F8-437C-4E80-33CB-4721AF9B00E2}"/>
              </a:ext>
            </a:extLst>
          </p:cNvPr>
          <p:cNvSpPr/>
          <p:nvPr/>
        </p:nvSpPr>
        <p:spPr>
          <a:xfrm>
            <a:off x="6299845" y="4096692"/>
            <a:ext cx="503664" cy="241605"/>
          </a:xfrm>
          <a:prstGeom prst="rect">
            <a:avLst/>
          </a:prstGeom>
          <a:solidFill>
            <a:schemeClr val="bg1"/>
          </a:solidFill>
        </p:spPr>
        <p:txBody>
          <a:bodyPr wrap="none" anchor="ctr">
            <a:spAutoFit/>
          </a:bodyPr>
          <a:lstStyle/>
          <a:p>
            <a:pPr marL="171353" indent="-171353" defTabSz="838284">
              <a:buFont typeface="Wingdings" panose="05000000000000000000" pitchFamily="2" charset="2"/>
              <a:buChar char="ü"/>
              <a:defRPr/>
            </a:pPr>
            <a:r>
              <a:rPr lang="en-US" altLang="zh-CN" sz="970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Go</a:t>
            </a:r>
          </a:p>
        </p:txBody>
      </p:sp>
      <p:sp>
        <p:nvSpPr>
          <p:cNvPr id="184" name="Rectangle 18">
            <a:extLst>
              <a:ext uri="{FF2B5EF4-FFF2-40B4-BE49-F238E27FC236}">
                <a16:creationId xmlns:a16="http://schemas.microsoft.com/office/drawing/2014/main" id="{D47CA0E7-E05D-C6DE-CBD0-145BF9B71A33}"/>
              </a:ext>
            </a:extLst>
          </p:cNvPr>
          <p:cNvSpPr/>
          <p:nvPr/>
        </p:nvSpPr>
        <p:spPr>
          <a:xfrm>
            <a:off x="3149026" y="2082260"/>
            <a:ext cx="199408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All application in Prod Env</a:t>
            </a:r>
          </a:p>
        </p:txBody>
      </p:sp>
      <p:sp>
        <p:nvSpPr>
          <p:cNvPr id="185" name="Rectangle 18">
            <a:extLst>
              <a:ext uri="{FF2B5EF4-FFF2-40B4-BE49-F238E27FC236}">
                <a16:creationId xmlns:a16="http://schemas.microsoft.com/office/drawing/2014/main" id="{8BB1EE6B-CD7F-1B3F-E0B6-1ACD4145A738}"/>
              </a:ext>
            </a:extLst>
          </p:cNvPr>
          <p:cNvSpPr/>
          <p:nvPr/>
        </p:nvSpPr>
        <p:spPr>
          <a:xfrm>
            <a:off x="10035988" y="1574528"/>
            <a:ext cx="579721" cy="169188"/>
          </a:xfrm>
          <a:prstGeom prst="rect">
            <a:avLst/>
          </a:prstGeom>
          <a:solidFill>
            <a:srgbClr val="1200E3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endParaRPr lang="en-US" sz="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21">
            <a:extLst>
              <a:ext uri="{FF2B5EF4-FFF2-40B4-BE49-F238E27FC236}">
                <a16:creationId xmlns:a16="http://schemas.microsoft.com/office/drawing/2014/main" id="{C866C2F2-14F7-98FD-DA73-544DD11CCF60}"/>
              </a:ext>
            </a:extLst>
          </p:cNvPr>
          <p:cNvSpPr/>
          <p:nvPr/>
        </p:nvSpPr>
        <p:spPr>
          <a:xfrm>
            <a:off x="10035989" y="1782187"/>
            <a:ext cx="579720" cy="172402"/>
          </a:xfrm>
          <a:prstGeom prst="rect">
            <a:avLst/>
          </a:prstGeom>
          <a:solidFill>
            <a:srgbClr val="F0193D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endParaRPr lang="en-US" sz="901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TextBox 50">
            <a:extLst>
              <a:ext uri="{FF2B5EF4-FFF2-40B4-BE49-F238E27FC236}">
                <a16:creationId xmlns:a16="http://schemas.microsoft.com/office/drawing/2014/main" id="{E23F7C70-AB41-8716-6F2B-2EF6046CC1FD}"/>
              </a:ext>
            </a:extLst>
          </p:cNvPr>
          <p:cNvSpPr txBox="1"/>
          <p:nvPr/>
        </p:nvSpPr>
        <p:spPr>
          <a:xfrm>
            <a:off x="10660474" y="1579571"/>
            <a:ext cx="14653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28926">
              <a:defRPr/>
            </a:pPr>
            <a:r>
              <a:rPr lang="en-US" sz="800" b="1" dirty="0">
                <a:solidFill>
                  <a:srgbClr val="3637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tel &amp; WCT Activities</a:t>
            </a:r>
          </a:p>
        </p:txBody>
      </p:sp>
      <p:sp>
        <p:nvSpPr>
          <p:cNvPr id="189" name="TextBox 50">
            <a:extLst>
              <a:ext uri="{FF2B5EF4-FFF2-40B4-BE49-F238E27FC236}">
                <a16:creationId xmlns:a16="http://schemas.microsoft.com/office/drawing/2014/main" id="{BAD4174F-96A1-06EB-ECC0-2EFCCC6652B3}"/>
              </a:ext>
            </a:extLst>
          </p:cNvPr>
          <p:cNvSpPr txBox="1"/>
          <p:nvPr/>
        </p:nvSpPr>
        <p:spPr>
          <a:xfrm>
            <a:off x="10660473" y="1758949"/>
            <a:ext cx="12522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28926">
              <a:defRPr/>
            </a:pPr>
            <a:r>
              <a:rPr lang="en-US" sz="800" b="1" dirty="0">
                <a:solidFill>
                  <a:srgbClr val="3637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/ No Go</a:t>
            </a:r>
          </a:p>
        </p:txBody>
      </p:sp>
      <p:sp>
        <p:nvSpPr>
          <p:cNvPr id="193" name="圆角矩形 74">
            <a:extLst>
              <a:ext uri="{FF2B5EF4-FFF2-40B4-BE49-F238E27FC236}">
                <a16:creationId xmlns:a16="http://schemas.microsoft.com/office/drawing/2014/main" id="{8736C2C6-9D36-05D5-8577-CCF4F402368F}"/>
              </a:ext>
            </a:extLst>
          </p:cNvPr>
          <p:cNvSpPr/>
          <p:nvPr/>
        </p:nvSpPr>
        <p:spPr>
          <a:xfrm>
            <a:off x="2752851" y="1264804"/>
            <a:ext cx="3940120" cy="387354"/>
          </a:xfrm>
          <a:prstGeom prst="roundRect">
            <a:avLst>
              <a:gd name="adj" fmla="val 8431"/>
            </a:avLst>
          </a:prstGeom>
          <a:solidFill>
            <a:srgbClr val="FF0000">
              <a:alpha val="3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1001" b="1">
              <a:solidFill>
                <a:prstClr val="black"/>
              </a:solidFill>
              <a:latin typeface="Calibri"/>
              <a:ea typeface="等线" panose="02010600030101010101" pitchFamily="2" charset="-122"/>
            </a:endParaRPr>
          </a:p>
        </p:txBody>
      </p:sp>
      <p:sp>
        <p:nvSpPr>
          <p:cNvPr id="194" name="Rectangle 18">
            <a:extLst>
              <a:ext uri="{FF2B5EF4-FFF2-40B4-BE49-F238E27FC236}">
                <a16:creationId xmlns:a16="http://schemas.microsoft.com/office/drawing/2014/main" id="{7D21657C-7361-FAB3-0B4B-61FC4F691167}"/>
              </a:ext>
            </a:extLst>
          </p:cNvPr>
          <p:cNvSpPr/>
          <p:nvPr/>
        </p:nvSpPr>
        <p:spPr>
          <a:xfrm>
            <a:off x="2741365" y="1887615"/>
            <a:ext cx="407662" cy="169188"/>
          </a:xfrm>
          <a:prstGeom prst="rect">
            <a:avLst/>
          </a:prstGeom>
          <a:solidFill>
            <a:srgbClr val="1200E4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 </a:t>
            </a:r>
            <a:r>
              <a:rPr lang="en-US" altLang="zh-CN" sz="849" b="1" dirty="0">
                <a:solidFill>
                  <a:prstClr val="black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Enable the Maintenance Page for Gomo App &amp; Web</a:t>
            </a:r>
            <a:endParaRPr lang="en-US" sz="849" b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5" name="矩形 87">
            <a:extLst>
              <a:ext uri="{FF2B5EF4-FFF2-40B4-BE49-F238E27FC236}">
                <a16:creationId xmlns:a16="http://schemas.microsoft.com/office/drawing/2014/main" id="{02DCB54F-2636-ED21-DFB6-7FD4959A04DB}"/>
              </a:ext>
            </a:extLst>
          </p:cNvPr>
          <p:cNvSpPr/>
          <p:nvPr/>
        </p:nvSpPr>
        <p:spPr>
          <a:xfrm>
            <a:off x="2708855" y="1454158"/>
            <a:ext cx="1843774" cy="200055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171353" indent="-171353" defTabSz="838284">
              <a:buFont typeface="Wingdings" panose="05000000000000000000" pitchFamily="2" charset="2"/>
              <a:buChar char="Ø"/>
              <a:defRPr/>
            </a:pPr>
            <a:r>
              <a:rPr lang="en-US" altLang="zh-CN" sz="700" b="1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Fusion System under maintenance</a:t>
            </a:r>
          </a:p>
        </p:txBody>
      </p:sp>
      <p:sp>
        <p:nvSpPr>
          <p:cNvPr id="196" name="Rectangle 18">
            <a:extLst>
              <a:ext uri="{FF2B5EF4-FFF2-40B4-BE49-F238E27FC236}">
                <a16:creationId xmlns:a16="http://schemas.microsoft.com/office/drawing/2014/main" id="{917EC433-44C0-DBDA-9AD4-A991FA3DD642}"/>
              </a:ext>
            </a:extLst>
          </p:cNvPr>
          <p:cNvSpPr/>
          <p:nvPr/>
        </p:nvSpPr>
        <p:spPr>
          <a:xfrm>
            <a:off x="3353046" y="2304336"/>
            <a:ext cx="426265" cy="193371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 0.5hr –</a:t>
            </a:r>
            <a:r>
              <a:rPr lang="en-US" altLang="zh-CN" sz="849" b="1" kern="0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QMDB &amp; ES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Data Export from Prod</a:t>
            </a:r>
          </a:p>
        </p:txBody>
      </p:sp>
      <p:sp>
        <p:nvSpPr>
          <p:cNvPr id="197" name="Rectangle 18">
            <a:extLst>
              <a:ext uri="{FF2B5EF4-FFF2-40B4-BE49-F238E27FC236}">
                <a16:creationId xmlns:a16="http://schemas.microsoft.com/office/drawing/2014/main" id="{975040A5-F4D2-6014-8AFE-F7D8FB5DD898}"/>
              </a:ext>
            </a:extLst>
          </p:cNvPr>
          <p:cNvSpPr/>
          <p:nvPr/>
        </p:nvSpPr>
        <p:spPr>
          <a:xfrm>
            <a:off x="3778904" y="2543295"/>
            <a:ext cx="420141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0.5hr – </a:t>
            </a:r>
            <a:r>
              <a:rPr lang="en-US" altLang="zh-CN" sz="849" b="1" kern="0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QMDB &amp; ES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Data Import into New Prod</a:t>
            </a:r>
          </a:p>
        </p:txBody>
      </p:sp>
      <p:sp>
        <p:nvSpPr>
          <p:cNvPr id="198" name="Rectangle 18">
            <a:extLst>
              <a:ext uri="{FF2B5EF4-FFF2-40B4-BE49-F238E27FC236}">
                <a16:creationId xmlns:a16="http://schemas.microsoft.com/office/drawing/2014/main" id="{1A4A1273-237E-F986-CCCC-F5B2241B547D}"/>
              </a:ext>
            </a:extLst>
          </p:cNvPr>
          <p:cNvSpPr/>
          <p:nvPr/>
        </p:nvSpPr>
        <p:spPr>
          <a:xfrm>
            <a:off x="4199045" y="3320080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art all application in New Prod Env</a:t>
            </a:r>
          </a:p>
        </p:txBody>
      </p:sp>
      <p:sp>
        <p:nvSpPr>
          <p:cNvPr id="203" name="Rectangle 18">
            <a:extLst>
              <a:ext uri="{FF2B5EF4-FFF2-40B4-BE49-F238E27FC236}">
                <a16:creationId xmlns:a16="http://schemas.microsoft.com/office/drawing/2014/main" id="{B2003052-2467-DFE1-0750-CC7BC88943AE}"/>
              </a:ext>
            </a:extLst>
          </p:cNvPr>
          <p:cNvSpPr/>
          <p:nvPr/>
        </p:nvSpPr>
        <p:spPr>
          <a:xfrm>
            <a:off x="6277593" y="4687956"/>
            <a:ext cx="198737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All application in Fusion new Prod</a:t>
            </a:r>
          </a:p>
        </p:txBody>
      </p:sp>
      <p:cxnSp>
        <p:nvCxnSpPr>
          <p:cNvPr id="208" name="Straight Connector 53">
            <a:extLst>
              <a:ext uri="{FF2B5EF4-FFF2-40B4-BE49-F238E27FC236}">
                <a16:creationId xmlns:a16="http://schemas.microsoft.com/office/drawing/2014/main" id="{D329D2A8-FC7C-1560-EEC0-003DA2982C88}"/>
              </a:ext>
            </a:extLst>
          </p:cNvPr>
          <p:cNvCxnSpPr>
            <a:cxnSpLocks/>
          </p:cNvCxnSpPr>
          <p:nvPr/>
        </p:nvCxnSpPr>
        <p:spPr>
          <a:xfrm>
            <a:off x="6267203" y="4693344"/>
            <a:ext cx="0" cy="1160374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18">
            <a:extLst>
              <a:ext uri="{FF2B5EF4-FFF2-40B4-BE49-F238E27FC236}">
                <a16:creationId xmlns:a16="http://schemas.microsoft.com/office/drawing/2014/main" id="{8413981E-BEDF-CFB5-EB44-A9267578E8D5}"/>
              </a:ext>
            </a:extLst>
          </p:cNvPr>
          <p:cNvSpPr/>
          <p:nvPr/>
        </p:nvSpPr>
        <p:spPr>
          <a:xfrm>
            <a:off x="4619187" y="3561580"/>
            <a:ext cx="1239602" cy="22832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1.5hr –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anity Test</a:t>
            </a:r>
            <a:endParaRPr lang="en-US" altLang="zh-CN" sz="849" b="1" dirty="0">
              <a:solidFill>
                <a:srgbClr val="FE8601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17" name="Rectangle 18">
            <a:extLst>
              <a:ext uri="{FF2B5EF4-FFF2-40B4-BE49-F238E27FC236}">
                <a16:creationId xmlns:a16="http://schemas.microsoft.com/office/drawing/2014/main" id="{2EDA25B4-9979-C751-83D6-888FF3B624AE}"/>
              </a:ext>
            </a:extLst>
          </p:cNvPr>
          <p:cNvSpPr/>
          <p:nvPr/>
        </p:nvSpPr>
        <p:spPr>
          <a:xfrm>
            <a:off x="5863550" y="3850783"/>
            <a:ext cx="226066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</a:t>
            </a: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– Enable Maintenance page for Gomo App &amp; Web</a:t>
            </a:r>
          </a:p>
        </p:txBody>
      </p:sp>
      <p:sp>
        <p:nvSpPr>
          <p:cNvPr id="219" name="Rectangle 18">
            <a:extLst>
              <a:ext uri="{FF2B5EF4-FFF2-40B4-BE49-F238E27FC236}">
                <a16:creationId xmlns:a16="http://schemas.microsoft.com/office/drawing/2014/main" id="{7B6CB323-37D9-C173-5D08-FE76E7C0991C}"/>
              </a:ext>
            </a:extLst>
          </p:cNvPr>
          <p:cNvSpPr/>
          <p:nvPr/>
        </p:nvSpPr>
        <p:spPr>
          <a:xfrm>
            <a:off x="6469602" y="4898511"/>
            <a:ext cx="198737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art All application in Fusion old Prod</a:t>
            </a:r>
          </a:p>
        </p:txBody>
      </p:sp>
      <p:sp>
        <p:nvSpPr>
          <p:cNvPr id="220" name="Rectangle 18">
            <a:extLst>
              <a:ext uri="{FF2B5EF4-FFF2-40B4-BE49-F238E27FC236}">
                <a16:creationId xmlns:a16="http://schemas.microsoft.com/office/drawing/2014/main" id="{7509556E-EA22-B7A0-C640-E6783B3B892C}"/>
              </a:ext>
            </a:extLst>
          </p:cNvPr>
          <p:cNvSpPr/>
          <p:nvPr/>
        </p:nvSpPr>
        <p:spPr>
          <a:xfrm>
            <a:off x="2346471" y="3637654"/>
            <a:ext cx="412054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Fusion Cron Job</a:t>
            </a:r>
          </a:p>
        </p:txBody>
      </p:sp>
      <p:sp>
        <p:nvSpPr>
          <p:cNvPr id="221" name="圆角矩形 94">
            <a:extLst>
              <a:ext uri="{FF2B5EF4-FFF2-40B4-BE49-F238E27FC236}">
                <a16:creationId xmlns:a16="http://schemas.microsoft.com/office/drawing/2014/main" id="{E5E29D7E-BC30-9C38-8D10-B22ACE31AAC9}"/>
              </a:ext>
            </a:extLst>
          </p:cNvPr>
          <p:cNvSpPr/>
          <p:nvPr/>
        </p:nvSpPr>
        <p:spPr>
          <a:xfrm>
            <a:off x="1507840" y="3262142"/>
            <a:ext cx="1243141" cy="588641"/>
          </a:xfrm>
          <a:prstGeom prst="roundRect">
            <a:avLst>
              <a:gd name="adj" fmla="val 3908"/>
            </a:avLst>
          </a:prstGeom>
          <a:solidFill>
            <a:schemeClr val="accent2">
              <a:alpha val="14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97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22" name="文本框 221">
            <a:extLst>
              <a:ext uri="{FF2B5EF4-FFF2-40B4-BE49-F238E27FC236}">
                <a16:creationId xmlns:a16="http://schemas.microsoft.com/office/drawing/2014/main" id="{917BB71D-C7F4-BC5F-12A3-7EEB0892B76D}"/>
              </a:ext>
            </a:extLst>
          </p:cNvPr>
          <p:cNvSpPr txBox="1"/>
          <p:nvPr/>
        </p:nvSpPr>
        <p:spPr>
          <a:xfrm>
            <a:off x="1499583" y="3279661"/>
            <a:ext cx="732893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54492"/>
            <a:r>
              <a:rPr kumimoji="1" lang="en-US" altLang="zh-SG" sz="788" b="1" kern="0" dirty="0">
                <a:solidFill>
                  <a:sysClr val="windowText" lastClr="000000"/>
                </a:solidFill>
              </a:rPr>
              <a:t>#Preparation</a:t>
            </a:r>
            <a:endParaRPr kumimoji="1" lang="zh-SG" altLang="en-US" sz="788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27" name="Rectangle 24">
            <a:extLst>
              <a:ext uri="{FF2B5EF4-FFF2-40B4-BE49-F238E27FC236}">
                <a16:creationId xmlns:a16="http://schemas.microsoft.com/office/drawing/2014/main" id="{BFF67E09-0FDE-EAD8-DBEA-DF3BC6E336BF}"/>
              </a:ext>
            </a:extLst>
          </p:cNvPr>
          <p:cNvSpPr/>
          <p:nvPr/>
        </p:nvSpPr>
        <p:spPr>
          <a:xfrm>
            <a:off x="2744673" y="2295761"/>
            <a:ext cx="222250" cy="576432"/>
          </a:xfrm>
          <a:prstGeom prst="rect">
            <a:avLst/>
          </a:prstGeom>
          <a:solidFill>
            <a:srgbClr val="F0193D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r>
              <a:rPr lang="en-US" sz="849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NG #1</a:t>
            </a:r>
          </a:p>
        </p:txBody>
      </p:sp>
      <p:sp>
        <p:nvSpPr>
          <p:cNvPr id="233" name="Rectangle 18">
            <a:extLst>
              <a:ext uri="{FF2B5EF4-FFF2-40B4-BE49-F238E27FC236}">
                <a16:creationId xmlns:a16="http://schemas.microsoft.com/office/drawing/2014/main" id="{E1E9F0FA-2403-B20D-19A9-2CC171C6A88A}"/>
              </a:ext>
            </a:extLst>
          </p:cNvPr>
          <p:cNvSpPr/>
          <p:nvPr/>
        </p:nvSpPr>
        <p:spPr>
          <a:xfrm>
            <a:off x="2338927" y="3337643"/>
            <a:ext cx="412054" cy="219955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Fusion  Report</a:t>
            </a:r>
          </a:p>
          <a:p>
            <a:pPr defTabSz="838284">
              <a:defRPr/>
            </a:pP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               Backend  Script</a:t>
            </a:r>
          </a:p>
        </p:txBody>
      </p:sp>
      <p:sp>
        <p:nvSpPr>
          <p:cNvPr id="241" name="Rectangle 18">
            <a:extLst>
              <a:ext uri="{FF2B5EF4-FFF2-40B4-BE49-F238E27FC236}">
                <a16:creationId xmlns:a16="http://schemas.microsoft.com/office/drawing/2014/main" id="{24520241-0BB9-1171-223C-B5F3C0196742}"/>
              </a:ext>
            </a:extLst>
          </p:cNvPr>
          <p:cNvSpPr/>
          <p:nvPr/>
        </p:nvSpPr>
        <p:spPr>
          <a:xfrm>
            <a:off x="3778904" y="2779463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ew Prod configuration and point back to old </a:t>
            </a:r>
            <a:r>
              <a:rPr lang="en-US" altLang="zh-CN" sz="849" b="1" dirty="0" err="1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PRod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DB &amp; Azure File</a:t>
            </a:r>
          </a:p>
        </p:txBody>
      </p:sp>
      <p:sp>
        <p:nvSpPr>
          <p:cNvPr id="242" name="Rectangle 18">
            <a:extLst>
              <a:ext uri="{FF2B5EF4-FFF2-40B4-BE49-F238E27FC236}">
                <a16:creationId xmlns:a16="http://schemas.microsoft.com/office/drawing/2014/main" id="{31382D8B-7474-8786-92DA-63894806BEA5}"/>
              </a:ext>
            </a:extLst>
          </p:cNvPr>
          <p:cNvSpPr/>
          <p:nvPr/>
        </p:nvSpPr>
        <p:spPr>
          <a:xfrm>
            <a:off x="3778903" y="3044066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LB configuration and point from Fusion old Prod to Fusion new Prod</a:t>
            </a:r>
          </a:p>
        </p:txBody>
      </p:sp>
      <p:sp>
        <p:nvSpPr>
          <p:cNvPr id="243" name="Rectangle 18">
            <a:extLst>
              <a:ext uri="{FF2B5EF4-FFF2-40B4-BE49-F238E27FC236}">
                <a16:creationId xmlns:a16="http://schemas.microsoft.com/office/drawing/2014/main" id="{D00C70CB-15BC-34F5-3599-9A05C131A08C}"/>
              </a:ext>
            </a:extLst>
          </p:cNvPr>
          <p:cNvSpPr/>
          <p:nvPr/>
        </p:nvSpPr>
        <p:spPr>
          <a:xfrm>
            <a:off x="6266259" y="5131507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LB configuration and point back from Fusion new Prod to Fusion old Prod</a:t>
            </a:r>
          </a:p>
        </p:txBody>
      </p:sp>
      <p:sp>
        <p:nvSpPr>
          <p:cNvPr id="2" name="标题 2">
            <a:extLst>
              <a:ext uri="{FF2B5EF4-FFF2-40B4-BE49-F238E27FC236}">
                <a16:creationId xmlns:a16="http://schemas.microsoft.com/office/drawing/2014/main" id="{B4608574-E0DD-DBA5-1EB0-23AE0D2413E5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Overall Runbook</a:t>
            </a:r>
            <a:r>
              <a:rPr kumimoji="1" lang="en-US" altLang="zh-SG" sz="14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– Production Environment Migration to AKS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4267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38614-26FD-D77A-7DF7-8DC3C21AD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11D023EC-3AC2-8E70-029E-40AED1185FCC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761C658F-51C3-58D8-DE3F-DF6400B77498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C0B3CDAE-5D72-A52E-C423-B2DD716134E1}"/>
              </a:ext>
            </a:extLst>
          </p:cNvPr>
          <p:cNvSpPr/>
          <p:nvPr/>
        </p:nvSpPr>
        <p:spPr>
          <a:xfrm>
            <a:off x="1559599" y="3564752"/>
            <a:ext cx="8685107" cy="3225217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7A760EDE-D6C4-39E7-5A59-3852E7A4FFA1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</a:t>
            </a: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AD0735BB-53CA-F6D5-0D4A-8289F5C1EC69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1A017424-21A1-06E3-111D-DBB8EC901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690FACCD-72FF-EC80-7575-A5D4088FF5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4E53063A-41B7-7D82-EDF2-F5C1FD703158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7259C062-0928-A556-566F-DCC9D299E262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6450315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TESTING2(AKS)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9977578F-C636-6B34-E58A-248C4B33969C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0AB2BFFC-FA7D-0E0D-C432-9B67435045E4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71246B2D-3CE6-0CCE-9DA6-5A2AB69C35F1}"/>
              </a:ext>
            </a:extLst>
          </p:cNvPr>
          <p:cNvSpPr/>
          <p:nvPr/>
        </p:nvSpPr>
        <p:spPr>
          <a:xfrm>
            <a:off x="10639109" y="174043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6D11B49-6C79-F016-94EA-28759E9768EC}"/>
              </a:ext>
            </a:extLst>
          </p:cNvPr>
          <p:cNvSpPr/>
          <p:nvPr/>
        </p:nvSpPr>
        <p:spPr>
          <a:xfrm>
            <a:off x="10639383" y="189589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A05AA801-0EF8-C79C-47FD-CF9CAFBC9B11}"/>
              </a:ext>
            </a:extLst>
          </p:cNvPr>
          <p:cNvSpPr/>
          <p:nvPr/>
        </p:nvSpPr>
        <p:spPr>
          <a:xfrm>
            <a:off x="10635509" y="205491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5B2F4ADC-C023-A87A-3892-8B77F6A2B6C3}"/>
              </a:ext>
            </a:extLst>
          </p:cNvPr>
          <p:cNvSpPr/>
          <p:nvPr/>
        </p:nvSpPr>
        <p:spPr>
          <a:xfrm>
            <a:off x="11683452" y="2032402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5C688940-E52B-ED9D-A2FE-D56199638496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15253"/>
            <a:ext cx="176743" cy="2665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11789C57-D711-95FB-5D70-FD3979AF7614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1F4AC25F-2E57-3FB6-FFB7-E492D6010517}"/>
              </a:ext>
            </a:extLst>
          </p:cNvPr>
          <p:cNvSpPr/>
          <p:nvPr/>
        </p:nvSpPr>
        <p:spPr>
          <a:xfrm>
            <a:off x="10636100" y="158497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2E058135-C31A-BD9D-31B8-E11075164349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B16FEAEB-1EC2-7E91-C93B-43AFC5EBF3BF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D8ADC227-B578-3FBF-8595-B887AA58627A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11B991FD-408D-3355-9D5C-67197F65C667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8A51B0B8-5182-F72D-FB91-065AF32EF266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0D5A97A6-076C-F741-EC09-416C8B9B11D2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5D063396-38B9-2A2C-465D-50B2EFBFF39A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3D9EA56B-6D07-9C15-9E33-D426264BB4DA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3FC7A005-2580-D2A3-512D-33646BEE83E3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D7A134A2-557C-4067-8E0F-DC7C6BDDEB39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2D1D9A16-18A4-BCC5-3078-DB77D5F6001B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51C32440-300B-5558-1EC5-DC445792D62B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6473A26A-C318-A1C5-EC5C-9B74B25AE07E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BAA0E83F-D969-88BC-2B29-37559D2BC5FA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D26B533F-9A5F-131F-737B-402662B1F9B5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47971"/>
            <a:ext cx="654782" cy="48950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06ADE4E0-0C6E-A6F7-A000-F8B0870D023F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03435"/>
            <a:ext cx="657791" cy="33404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CAF208B7-8E30-7492-DDCB-2E530C72A60C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58899"/>
            <a:ext cx="658065" cy="17857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F722E396-8B6A-4E38-6D0A-481F1DE86862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 flipV="1">
            <a:off x="9981319" y="2117917"/>
            <a:ext cx="654191" cy="1955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70E53C6C-6BA7-7E63-6E77-C64CE2D751A4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23284C58-D7F1-7F93-C538-31263E1D81EF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1BABA60C-0F52-3CBD-A646-8B7A903B1A01}"/>
              </a:ext>
            </a:extLst>
          </p:cNvPr>
          <p:cNvCxnSpPr>
            <a:cxnSpLocks/>
            <a:endCxn id="1032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FB380C6C-CF8A-9532-F66C-2FDDCC3DB980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8B47009F-C5DB-BC87-39F7-CA0FD15EA6B2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55FE13FE-27D0-9F4E-2D79-3E6CE6D8BBBC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C4DE30D0-B2C4-0BC1-AE8D-A27549B18379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572988B2-EF29-24F3-9F06-824E7E75B6AA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8C6B162F-A493-45A9-36AE-04C01E72CDCE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AC9757BE-0785-85B5-5A28-6C22819C44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4E0873FD-60F3-EDDD-03EF-7E0EC2BB84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64AB8F25-4762-0106-0527-96638C19082D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474C8D6A-AB17-D2F9-9492-F7DB0C1A1C42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87DF2379-82B3-8C7C-DF56-C733D67A2C0A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0F118B26-127F-E141-F83B-377BE25928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D06648E8-0451-368B-689F-E56D2FA284D6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75AB2524-1145-967D-797A-689B88495B0B}"/>
              </a:ext>
            </a:extLst>
          </p:cNvPr>
          <p:cNvSpPr/>
          <p:nvPr/>
        </p:nvSpPr>
        <p:spPr>
          <a:xfrm>
            <a:off x="10636099" y="2215627"/>
            <a:ext cx="870020" cy="15377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9D1B2BD4-E8A6-B77C-9EB3-9701E6707B48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5503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1DC21C64-2B4A-CA40-E9BC-8D7376BCFFF0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13D7FBD7-4627-EB29-1B60-2A95285C16AF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6" name="矩形 335">
            <a:extLst>
              <a:ext uri="{FF2B5EF4-FFF2-40B4-BE49-F238E27FC236}">
                <a16:creationId xmlns:a16="http://schemas.microsoft.com/office/drawing/2014/main" id="{9E79828F-8DB2-653F-B89B-CA9809DF305C}"/>
              </a:ext>
            </a:extLst>
          </p:cNvPr>
          <p:cNvSpPr/>
          <p:nvPr/>
        </p:nvSpPr>
        <p:spPr>
          <a:xfrm>
            <a:off x="2703231" y="3628885"/>
            <a:ext cx="4734672" cy="2584880"/>
          </a:xfrm>
          <a:prstGeom prst="rect">
            <a:avLst/>
          </a:prstGeom>
          <a:solidFill>
            <a:srgbClr val="4DC7FF"/>
          </a:solidFill>
          <a:ln w="12700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11451AD5-C218-BF59-AE61-26477342BD3B}"/>
              </a:ext>
            </a:extLst>
          </p:cNvPr>
          <p:cNvCxnSpPr>
            <a:cxnSpLocks/>
            <a:stCxn id="1081" idx="0"/>
            <a:endCxn id="472" idx="2"/>
          </p:cNvCxnSpPr>
          <p:nvPr/>
        </p:nvCxnSpPr>
        <p:spPr>
          <a:xfrm rot="5400000" flipH="1" flipV="1">
            <a:off x="6465626" y="2579998"/>
            <a:ext cx="1215171" cy="991524"/>
          </a:xfrm>
          <a:prstGeom prst="bentConnector3">
            <a:avLst>
              <a:gd name="adj1" fmla="val 28052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F46426E4-A76C-869F-DD61-31101CB1484B}"/>
              </a:ext>
            </a:extLst>
          </p:cNvPr>
          <p:cNvCxnSpPr>
            <a:cxnSpLocks/>
            <a:stCxn id="1081" idx="3"/>
            <a:endCxn id="5" idx="2"/>
          </p:cNvCxnSpPr>
          <p:nvPr/>
        </p:nvCxnSpPr>
        <p:spPr>
          <a:xfrm flipV="1">
            <a:off x="6689062" y="2461739"/>
            <a:ext cx="3000657" cy="1333220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84" name="矩形 383">
            <a:extLst>
              <a:ext uri="{FF2B5EF4-FFF2-40B4-BE49-F238E27FC236}">
                <a16:creationId xmlns:a16="http://schemas.microsoft.com/office/drawing/2014/main" id="{EC7C8112-B0C2-0F63-A4B4-230498EA9C45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8907CE76-2439-67C4-E0EB-3B8D995494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758A245A-85C0-9860-28F5-92D2322CA902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1634BE85-0251-0ED2-9071-3BE22B71CB4D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B2D5E2E7-8842-8677-7C22-F038B7B47D70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73B0C5BB-54A5-618F-083E-6F0D59F1130C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CB77FA4A-4897-55E0-95DB-2673094560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CED09E3D-CF76-2ABD-6F79-8201F10FF532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E14F05ED-9CCF-EA26-C810-CCE1D654F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C44671C4-480E-FC34-D4EA-0E0CA7F20B9B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417312A9-0A27-E0E6-CC83-C6E1D43D641C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9BD3A33B-F0E4-4AB0-3A9C-5E1E5D4BCDD2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874E67D8-47CE-EFA4-4A64-C35A398C0F66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CE7DAA64-804C-4BF3-CBFA-CC2111745C4E}"/>
              </a:ext>
            </a:extLst>
          </p:cNvPr>
          <p:cNvGraphicFramePr>
            <a:graphicFrameLocks noGrp="1"/>
          </p:cNvGraphicFramePr>
          <p:nvPr/>
        </p:nvGraphicFramePr>
        <p:xfrm>
          <a:off x="10231974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04119B45-810D-4A7A-4706-FD383A497417}"/>
              </a:ext>
            </a:extLst>
          </p:cNvPr>
          <p:cNvSpPr/>
          <p:nvPr/>
        </p:nvSpPr>
        <p:spPr>
          <a:xfrm>
            <a:off x="10417483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2F3C897C-D8DD-0C7E-2DE5-F1C99F9FFE8F}"/>
              </a:ext>
            </a:extLst>
          </p:cNvPr>
          <p:cNvSpPr/>
          <p:nvPr/>
        </p:nvSpPr>
        <p:spPr>
          <a:xfrm>
            <a:off x="10417483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0" name="圆角矩形 449">
            <a:extLst>
              <a:ext uri="{FF2B5EF4-FFF2-40B4-BE49-F238E27FC236}">
                <a16:creationId xmlns:a16="http://schemas.microsoft.com/office/drawing/2014/main" id="{77F46752-50FD-ED12-FD26-E1E11575E625}"/>
              </a:ext>
            </a:extLst>
          </p:cNvPr>
          <p:cNvSpPr/>
          <p:nvPr/>
        </p:nvSpPr>
        <p:spPr>
          <a:xfrm>
            <a:off x="10417483" y="4165052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B133B1CF-DC46-9678-B57C-2DDB0D1ED6D2}"/>
              </a:ext>
            </a:extLst>
          </p:cNvPr>
          <p:cNvSpPr/>
          <p:nvPr/>
        </p:nvSpPr>
        <p:spPr>
          <a:xfrm>
            <a:off x="10417483" y="437810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61594257-98FC-239F-BA2E-022C6BE755DD}"/>
              </a:ext>
            </a:extLst>
          </p:cNvPr>
          <p:cNvSpPr/>
          <p:nvPr/>
        </p:nvSpPr>
        <p:spPr>
          <a:xfrm>
            <a:off x="10417483" y="459351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E5BFE2AC-5A36-475D-D5BF-FC3500124F3B}"/>
              </a:ext>
            </a:extLst>
          </p:cNvPr>
          <p:cNvSpPr/>
          <p:nvPr/>
        </p:nvSpPr>
        <p:spPr>
          <a:xfrm>
            <a:off x="10417483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7A504E95-CCC5-F9B6-8B45-8DE00E5DA84C}"/>
              </a:ext>
            </a:extLst>
          </p:cNvPr>
          <p:cNvCxnSpPr>
            <a:cxnSpLocks/>
          </p:cNvCxnSpPr>
          <p:nvPr/>
        </p:nvCxnSpPr>
        <p:spPr>
          <a:xfrm>
            <a:off x="10417483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F793DD25-AF98-EE2B-A255-942BB8A811B0}"/>
              </a:ext>
            </a:extLst>
          </p:cNvPr>
          <p:cNvCxnSpPr>
            <a:cxnSpLocks/>
          </p:cNvCxnSpPr>
          <p:nvPr/>
        </p:nvCxnSpPr>
        <p:spPr>
          <a:xfrm>
            <a:off x="10417483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C9A03D2F-0E6E-45C2-8A25-7561C6BF2442}"/>
              </a:ext>
            </a:extLst>
          </p:cNvPr>
          <p:cNvCxnSpPr>
            <a:cxnSpLocks/>
          </p:cNvCxnSpPr>
          <p:nvPr/>
        </p:nvCxnSpPr>
        <p:spPr>
          <a:xfrm>
            <a:off x="10417483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9EF41B31-0A83-AD21-E7AD-BB8724982B63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B259295A-8F3B-6E89-451F-9BA71E099700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0DEAF94D-75CF-AE87-B098-A1281A0EC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E6CE34C3-6713-7FAD-A3CA-454E75271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C2864E80-13E1-96A4-430B-B2D6DD4E677B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3F3471EB-FD50-8FB6-3672-9082B4854563}"/>
              </a:ext>
            </a:extLst>
          </p:cNvPr>
          <p:cNvCxnSpPr>
            <a:cxnSpLocks/>
            <a:stCxn id="309" idx="2"/>
            <a:endCxn id="61" idx="0"/>
          </p:cNvCxnSpPr>
          <p:nvPr/>
        </p:nvCxnSpPr>
        <p:spPr>
          <a:xfrm rot="16200000" flipH="1">
            <a:off x="4200314" y="2975029"/>
            <a:ext cx="808124" cy="1223089"/>
          </a:xfrm>
          <a:prstGeom prst="bentConnector3">
            <a:avLst>
              <a:gd name="adj1" fmla="val 33921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C3274AA2-FA1F-FA28-0901-05342B7CFF99}"/>
              </a:ext>
            </a:extLst>
          </p:cNvPr>
          <p:cNvCxnSpPr>
            <a:cxnSpLocks/>
            <a:stCxn id="1081" idx="0"/>
            <a:endCxn id="313" idx="2"/>
          </p:cNvCxnSpPr>
          <p:nvPr/>
        </p:nvCxnSpPr>
        <p:spPr>
          <a:xfrm rot="16200000" flipV="1">
            <a:off x="5924499" y="3030394"/>
            <a:ext cx="560655" cy="745247"/>
          </a:xfrm>
          <a:prstGeom prst="bentConnector3">
            <a:avLst>
              <a:gd name="adj1" fmla="val 59594"/>
            </a:avLst>
          </a:prstGeom>
          <a:ln w="12700">
            <a:solidFill>
              <a:srgbClr val="0332FF"/>
            </a:solidFill>
            <a:prstDash val="sysDot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52FC3A37-CEF4-284C-95B9-F1A9D712D37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2025075" y="5402291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77A1B18D-FCE2-30C3-1220-AFEF27649A45}"/>
              </a:ext>
            </a:extLst>
          </p:cNvPr>
          <p:cNvSpPr txBox="1"/>
          <p:nvPr/>
        </p:nvSpPr>
        <p:spPr>
          <a:xfrm>
            <a:off x="1670365" y="5729505"/>
            <a:ext cx="99867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0.165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test2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-test2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idms-test2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test2.sg.singtelgroup.net</a:t>
            </a: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FF92672B-E399-80AB-D386-736E1DEA7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93C52127-1027-E5EC-256C-C98F45D9AF39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E98AE632-96BA-0D0B-216B-F56E9713663A}"/>
              </a:ext>
            </a:extLst>
          </p:cNvPr>
          <p:cNvCxnSpPr>
            <a:cxnSpLocks/>
            <a:stCxn id="1081" idx="0"/>
            <a:endCxn id="30" idx="2"/>
          </p:cNvCxnSpPr>
          <p:nvPr/>
        </p:nvCxnSpPr>
        <p:spPr>
          <a:xfrm rot="5400000" flipH="1" flipV="1">
            <a:off x="7284920" y="1987556"/>
            <a:ext cx="988318" cy="2403261"/>
          </a:xfrm>
          <a:prstGeom prst="bentConnector3">
            <a:avLst>
              <a:gd name="adj1" fmla="val 34400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45A36AF7-F4FB-21F1-A479-EBA5016CFA2E}"/>
              </a:ext>
            </a:extLst>
          </p:cNvPr>
          <p:cNvSpPr/>
          <p:nvPr/>
        </p:nvSpPr>
        <p:spPr>
          <a:xfrm>
            <a:off x="2689158" y="6464533"/>
            <a:ext cx="6939395" cy="23624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43449E5-6EF2-C4EC-3398-891464AA79DD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uat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0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1D519231-1D4E-D653-5117-28B2A16A046A}"/>
              </a:ext>
            </a:extLst>
          </p:cNvPr>
          <p:cNvSpPr txBox="1"/>
          <p:nvPr/>
        </p:nvSpPr>
        <p:spPr>
          <a:xfrm>
            <a:off x="8773964" y="2279529"/>
            <a:ext cx="413492" cy="415498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71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4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DCDF2913-B4D3-1D6C-1CDA-2769288BCDD1}"/>
              </a:ext>
            </a:extLst>
          </p:cNvPr>
          <p:cNvSpPr txBox="1"/>
          <p:nvPr/>
        </p:nvSpPr>
        <p:spPr>
          <a:xfrm>
            <a:off x="8357258" y="2281028"/>
            <a:ext cx="413492" cy="413999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7.3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42EA4823-734D-FDEE-6AE9-EA5A417C72BF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470" name="组合 469">
            <a:extLst>
              <a:ext uri="{FF2B5EF4-FFF2-40B4-BE49-F238E27FC236}">
                <a16:creationId xmlns:a16="http://schemas.microsoft.com/office/drawing/2014/main" id="{E7544827-8881-C47E-9A43-F88AEE2C2C04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4" name="七边形 13">
              <a:extLst>
                <a:ext uri="{FF2B5EF4-FFF2-40B4-BE49-F238E27FC236}">
                  <a16:creationId xmlns:a16="http://schemas.microsoft.com/office/drawing/2014/main" id="{D9625A4D-90B7-F615-5932-C10667C2C11D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文本框 494">
              <a:extLst>
                <a:ext uri="{FF2B5EF4-FFF2-40B4-BE49-F238E27FC236}">
                  <a16:creationId xmlns:a16="http://schemas.microsoft.com/office/drawing/2014/main" id="{6FC44AC8-6080-8825-C9AD-5291E2D57C33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F7928189-DE04-BE7E-4A10-F504ED078783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BA70F784-8BB1-D781-F97E-176D9D379EFD}"/>
              </a:ext>
            </a:extLst>
          </p:cNvPr>
          <p:cNvCxnSpPr>
            <a:cxnSpLocks/>
            <a:stCxn id="47" idx="2"/>
            <a:endCxn id="61" idx="0"/>
          </p:cNvCxnSpPr>
          <p:nvPr/>
        </p:nvCxnSpPr>
        <p:spPr>
          <a:xfrm rot="5400000">
            <a:off x="6242159" y="1668790"/>
            <a:ext cx="1295609" cy="3348083"/>
          </a:xfrm>
          <a:prstGeom prst="bentConnector3">
            <a:avLst>
              <a:gd name="adj1" fmla="val 5891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93B1537F-ECEE-565E-13B1-32699BF8150C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77288703-40F7-1A7B-2DD1-E4CD3BAFAF1B}"/>
              </a:ext>
            </a:extLst>
          </p:cNvPr>
          <p:cNvCxnSpPr>
            <a:cxnSpLocks/>
          </p:cNvCxnSpPr>
          <p:nvPr/>
        </p:nvCxnSpPr>
        <p:spPr>
          <a:xfrm>
            <a:off x="10418438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F6F6E843-98E2-07E1-36C8-985E9D45B724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A2B93413-541A-27D1-3CAE-F7D3E8D832C7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26A7D16D-E85D-18E1-2E97-8BC87DE50628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grpSp>
        <p:nvGrpSpPr>
          <p:cNvPr id="478" name="组合 477">
            <a:extLst>
              <a:ext uri="{FF2B5EF4-FFF2-40B4-BE49-F238E27FC236}">
                <a16:creationId xmlns:a16="http://schemas.microsoft.com/office/drawing/2014/main" id="{9E37241A-2C6E-1164-EDA8-6FA7FD35D938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479" name="七边形 478">
              <a:extLst>
                <a:ext uri="{FF2B5EF4-FFF2-40B4-BE49-F238E27FC236}">
                  <a16:creationId xmlns:a16="http://schemas.microsoft.com/office/drawing/2014/main" id="{D92FF1BE-A676-441C-BA6A-78AE4333F422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文本框 479">
              <a:extLst>
                <a:ext uri="{FF2B5EF4-FFF2-40B4-BE49-F238E27FC236}">
                  <a16:creationId xmlns:a16="http://schemas.microsoft.com/office/drawing/2014/main" id="{9C50100B-2604-B62C-77C0-3B9C5CCB29FF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A179E105-4084-7A8A-F731-3C0FF726FC0D}"/>
              </a:ext>
            </a:extLst>
          </p:cNvPr>
          <p:cNvCxnSpPr>
            <a:cxnSpLocks/>
            <a:stCxn id="487" idx="3"/>
            <a:endCxn id="7" idx="0"/>
          </p:cNvCxnSpPr>
          <p:nvPr/>
        </p:nvCxnSpPr>
        <p:spPr>
          <a:xfrm flipV="1">
            <a:off x="594493" y="5546914"/>
            <a:ext cx="1430582" cy="3834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3AB738D5-32C2-0D97-A0AF-4D99DC331E40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6607343D-8FA9-3040-6D41-2ECD967BF2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42C5166D-2B7C-49A0-FC1F-4718B90F3B76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9ECB403E-FBCC-4CA8-F46D-48CAB66A6019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94C96A8B-35EF-2994-2F34-7892795B8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5C1C73CF-E143-7D4B-F669-07B3E8D95406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3358A08F-D452-E88C-9319-CE9425E75493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56A02170-74C7-809C-B8EB-CC5A5C018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9D77FECE-614E-D4EA-9A5A-3F75827C9F90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9A2630B0-043C-8F34-112A-0D12C9943064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ED46789B-B73C-24FE-628E-0160CD3C3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150D43B9-8350-795B-EDE0-CD9169EF6D7F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BE13FCF3-CFE3-7F3C-38B0-41A923BE9493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05B831E2-216C-4996-E433-B59F12BDE28E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87EF5382-700B-B024-716C-7671B1A22D40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D2D9F451-A152-AB91-BB39-4CDFEE815B8D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7" name="文本框 206">
            <a:extLst>
              <a:ext uri="{FF2B5EF4-FFF2-40B4-BE49-F238E27FC236}">
                <a16:creationId xmlns:a16="http://schemas.microsoft.com/office/drawing/2014/main" id="{8056C6A6-176A-640B-7D21-350131B9EBD7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7AD8C19-068F-2B04-AD3E-8E38DB0DD75C}"/>
              </a:ext>
            </a:extLst>
          </p:cNvPr>
          <p:cNvSpPr txBox="1"/>
          <p:nvPr/>
        </p:nvSpPr>
        <p:spPr>
          <a:xfrm>
            <a:off x="2221700" y="560598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D2E727B-7910-033B-785E-375E378C54C4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06E9989-0891-EFEE-A413-CEABA6D5C9E7}"/>
              </a:ext>
            </a:extLst>
          </p:cNvPr>
          <p:cNvSpPr txBox="1"/>
          <p:nvPr/>
        </p:nvSpPr>
        <p:spPr>
          <a:xfrm>
            <a:off x="2201315" y="1722781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DC7B4E1-14AB-7317-C430-CEC434F13FFC}"/>
              </a:ext>
            </a:extLst>
          </p:cNvPr>
          <p:cNvSpPr txBox="1"/>
          <p:nvPr/>
        </p:nvSpPr>
        <p:spPr>
          <a:xfrm>
            <a:off x="5362485" y="27420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4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FB711B0-8A40-F273-F7F1-A8740655AEA5}"/>
              </a:ext>
            </a:extLst>
          </p:cNvPr>
          <p:cNvSpPr txBox="1"/>
          <p:nvPr/>
        </p:nvSpPr>
        <p:spPr>
          <a:xfrm>
            <a:off x="6534045" y="315606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188E95E5-B565-8C72-C60B-C2DADD5455B4}"/>
              </a:ext>
            </a:extLst>
          </p:cNvPr>
          <p:cNvSpPr txBox="1"/>
          <p:nvPr/>
        </p:nvSpPr>
        <p:spPr>
          <a:xfrm>
            <a:off x="7462403" y="311056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4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E79914E8-25C6-EDEB-E06C-6DDB095F0C99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6B0F433-A98E-50E1-9D0D-EA1ACE32413C}"/>
              </a:ext>
            </a:extLst>
          </p:cNvPr>
          <p:cNvSpPr/>
          <p:nvPr/>
        </p:nvSpPr>
        <p:spPr>
          <a:xfrm>
            <a:off x="10379546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45DA38F5-44AE-49BD-5C6E-134380E10A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387172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98125842-2086-BBEB-4371-6309C392628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665248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5BD5686D-4F67-33D9-9D19-137999F9D48A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582216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371C773D-9EE5-5E23-23C1-4284CE09E766}"/>
              </a:ext>
            </a:extLst>
          </p:cNvPr>
          <p:cNvSpPr txBox="1"/>
          <p:nvPr/>
        </p:nvSpPr>
        <p:spPr>
          <a:xfrm>
            <a:off x="10423856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E091A9F9-FC36-CC8B-317C-42BD050D28A6}"/>
              </a:ext>
            </a:extLst>
          </p:cNvPr>
          <p:cNvCxnSpPr>
            <a:cxnSpLocks/>
          </p:cNvCxnSpPr>
          <p:nvPr/>
        </p:nvCxnSpPr>
        <p:spPr>
          <a:xfrm>
            <a:off x="10423507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D0BD5026-3033-BE8A-7A37-444C6A175C03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335CD75D-887C-2B0B-7D23-935E4B0B3C4D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2AD2CE5C-2BD7-7EF8-4EF3-26FD81A60D8E}"/>
              </a:ext>
            </a:extLst>
          </p:cNvPr>
          <p:cNvSpPr/>
          <p:nvPr/>
        </p:nvSpPr>
        <p:spPr>
          <a:xfrm>
            <a:off x="10638360" y="2411623"/>
            <a:ext cx="865499" cy="14537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B4FC52B4-7FCE-DF00-D71C-D4FD561371E4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34683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0A7071E9-030C-634E-ED7F-F3CE6829F533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7173F5E5-C365-AEDF-500D-D03E0B13A547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8E5F7F63-7BC7-4020-7C5F-611836A20367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D0D1197D-48F8-65FA-03C2-2B772A3A9E03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602BC1C6-37D4-9915-78D5-06B3BA429EB9}"/>
              </a:ext>
            </a:extLst>
          </p:cNvPr>
          <p:cNvCxnSpPr>
            <a:cxnSpLocks/>
          </p:cNvCxnSpPr>
          <p:nvPr/>
        </p:nvCxnSpPr>
        <p:spPr>
          <a:xfrm>
            <a:off x="10424369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74277AD2-D822-6CEE-AD22-9ABC16A4E5EF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33636D50-F86C-E96C-6FD1-DF66C52A298E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73A6AC53-24CB-F421-12AD-302292713C0F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op Cust Care</a:t>
            </a: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FB860BF8-CE40-12BD-D6CE-F56D2AA74B31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A7CB4EF7-E567-F756-8825-35B0DFED5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1E03080C-1F2F-0AF3-FCC9-265A981DB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474CE080-FE4E-A3D4-0380-974C8F9E7A3D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FBC44F50-9023-FEE4-4DB5-529E3ECB0F7A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op Singtel Staff</a:t>
            </a: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A0EED77A-AE49-0BF2-D698-21C16A1AE0B3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57ADFAD7-15C0-6372-487B-A6AF771DF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5816F726-2190-46C7-7867-DF22692DA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38CAE1D9-F5AC-A6FA-AE45-ACC38E20D553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7" name="文本框 456">
            <a:extLst>
              <a:ext uri="{FF2B5EF4-FFF2-40B4-BE49-F238E27FC236}">
                <a16:creationId xmlns:a16="http://schemas.microsoft.com/office/drawing/2014/main" id="{6C962A2B-8C1C-9D10-8BCF-55C1664D5BBA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04.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i-</a:t>
            </a: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.gw.cloudsgdev.sg.singtelgroup.net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E520E24F-D06B-1B2B-E20C-26E8816011E0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D3A7821-5463-062D-8BE4-BF70CB894846}"/>
              </a:ext>
            </a:extLst>
          </p:cNvPr>
          <p:cNvGrpSpPr/>
          <p:nvPr/>
        </p:nvGrpSpPr>
        <p:grpSpPr>
          <a:xfrm>
            <a:off x="3964582" y="1622220"/>
            <a:ext cx="1482342" cy="763102"/>
            <a:chOff x="4081979" y="1622220"/>
            <a:chExt cx="1482342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67B23F18-8698-1FE4-F4C6-77BD92D4BA40}"/>
                </a:ext>
              </a:extLst>
            </p:cNvPr>
            <p:cNvGrpSpPr/>
            <p:nvPr/>
          </p:nvGrpSpPr>
          <p:grpSpPr>
            <a:xfrm>
              <a:off x="4081979" y="1622220"/>
              <a:ext cx="1482342" cy="763102"/>
              <a:chOff x="4266828" y="5430271"/>
              <a:chExt cx="1482342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7A7C0700-A165-E596-9477-17BC68CE196E}"/>
                  </a:ext>
                </a:extLst>
              </p:cNvPr>
              <p:cNvSpPr/>
              <p:nvPr/>
            </p:nvSpPr>
            <p:spPr>
              <a:xfrm>
                <a:off x="4802790" y="5430271"/>
                <a:ext cx="946380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38E70169-3A07-D802-399F-73AA5F2F5593}"/>
                  </a:ext>
                </a:extLst>
              </p:cNvPr>
              <p:cNvSpPr/>
              <p:nvPr/>
            </p:nvSpPr>
            <p:spPr>
              <a:xfrm>
                <a:off x="4826815" y="5453567"/>
                <a:ext cx="878815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91CA8952-4926-6891-3699-908A5B341D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4890EA2B-C61B-1762-F337-7CD022D0F2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0846599E-38B4-300E-4C0B-6635DED869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82952F59-68EE-2F73-1961-44CDB8F32DE6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855596DB-3882-6569-3F1C-2155CC91D327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9FE9C053-D69B-167F-B5C9-687566B4CD2C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54F07C4C-A884-FC19-6467-51E0B4C326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19443909-2BBC-6498-9A58-12A3F1CA08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6291136A-2B8F-EF93-DF77-E38973609672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641E67FD-3FC5-F725-6233-DBB00C076A5D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C5FE0CEA-E47E-66E6-0C6A-E14E82769884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38201AA4-046E-536B-D7AC-2EFF0D5D5A41}"/>
                  </a:ext>
                </a:extLst>
              </p:cNvPr>
              <p:cNvSpPr/>
              <p:nvPr/>
            </p:nvSpPr>
            <p:spPr>
              <a:xfrm>
                <a:off x="4266828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91117126-CCF0-B066-CF93-70C0AF99C132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5770" y="5734950"/>
                <a:ext cx="120201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3EE2F589-B544-F062-9324-C28EE19D13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4454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340AFAE7-98B5-EE25-34A9-16FEA0A6F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2530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F73C6BA2-D4E6-2F7C-BEA4-87BC14B682F4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69498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681933CC-7AF8-1A39-3B5E-DCD00A9A753C}"/>
                  </a:ext>
                </a:extLst>
              </p:cNvPr>
              <p:cNvSpPr txBox="1"/>
              <p:nvPr/>
            </p:nvSpPr>
            <p:spPr>
              <a:xfrm>
                <a:off x="4324853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20352A97-684F-F434-75F6-34176387F066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F9397DEB-09F0-B7CB-4F1F-CC7C88A8A676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DDB71F29-5F18-5917-1D90-1A8ED3681432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912285DB-4521-46DB-715B-0D9454A66AD9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N 34414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AE7F4BD-14CC-36AB-28B5-02557B335D48}"/>
              </a:ext>
            </a:extLst>
          </p:cNvPr>
          <p:cNvSpPr txBox="1"/>
          <p:nvPr/>
        </p:nvSpPr>
        <p:spPr>
          <a:xfrm>
            <a:off x="2236746" y="2235187"/>
            <a:ext cx="47864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25" tooltip="https://proxy-dev-fusioncore-singtel-git-awslz-dmz.sin.dmz.dev.aws.singtel.com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xy-dev-test-fusioncore-singtel-git-awslz-dmz.sin.dmz.dev.aws.singtel.com/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F5FCAF64-A030-42DD-770B-E1D613F85AA8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10D41DF6-A1BD-B266-C011-9C8FC4848A64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D7212A67-AAD7-88D1-91F6-CDCFE0CE1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531440D9-1DCB-3CE0-A8A8-77BED5A3BF0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7F47CE87-9D3D-DB77-D7B9-7DBAC3B72717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4CEE8E95-D603-1931-183C-0243BEB84725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0A2ADE91-0DCF-6449-6F94-70471A31414E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569D58C4-9735-CDB1-1D42-238A8D1B520B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BBAA5954-9A3F-E2C2-26E4-49FC9B4C25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C2E821E3-B7F5-8CE3-BEEF-15A681D253E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BB566345-9229-113C-4AB6-5B4D82EB175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FC0961E4-3454-F8A5-FBAD-FBE74E5627BA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E90AD907-326F-BB3D-BB7D-0986BD5E2892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8262E342-467E-8D2E-7C86-8189A93DD84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BB53C39D-BE7A-B117-F1A3-9DCE56EB8F50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CE2EC23E-7D54-DC3E-A03F-F2803DC215BA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40488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54BFC716-205C-8D81-08BA-6C3D6D6DDC38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5145FF29-702A-E6F9-EEFC-A2B2DEEB5226}"/>
              </a:ext>
            </a:extLst>
          </p:cNvPr>
          <p:cNvSpPr/>
          <p:nvPr/>
        </p:nvSpPr>
        <p:spPr>
          <a:xfrm rot="16200000">
            <a:off x="-578897" y="4856112"/>
            <a:ext cx="254462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59" name="文本框 358">
            <a:extLst>
              <a:ext uri="{FF2B5EF4-FFF2-40B4-BE49-F238E27FC236}">
                <a16:creationId xmlns:a16="http://schemas.microsoft.com/office/drawing/2014/main" id="{5EE28328-5A7E-A4B5-3BA0-B52319708DB3}"/>
              </a:ext>
            </a:extLst>
          </p:cNvPr>
          <p:cNvSpPr txBox="1"/>
          <p:nvPr/>
        </p:nvSpPr>
        <p:spPr>
          <a:xfrm>
            <a:off x="3571123" y="2142854"/>
            <a:ext cx="28926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bit-fusioncore.fusioncore.dev.lz.aws.sg.singtelgroup.net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A4A2DB05-09CE-6881-488C-4FB2A595F5D6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53B83BCE-2C4E-1F44-5B4B-E4048D5776EC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77873B02-0C5A-677C-02DD-93A09BBC458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5155DCEC-7056-7C7B-0EA3-E7C614FD96E9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26CEF54-572A-A07D-5D4B-0A74A7712BF5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DN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C863FBF5-27FC-3BB9-F431-B1D906CC5E36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9A9E685B-E443-5518-7A4E-A02F19147D87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2991D7A1-3384-BAE7-A726-B226B5FC9B2D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20FE7446-57C9-6C6B-DECF-FFCF57C70F0C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177B3500-9682-7315-B8F4-B7DAC497A680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22F348EC-A8DF-0B9D-D8C8-861E8787E063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B8843AA2-60EF-FCD6-B3ED-BA97C7B6F75F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78C373F7-F36B-E538-3E4D-82338DC4762A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C679F57B-0A1A-E70C-D555-8F4276871880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BCB66B66-692B-D742-5FA6-F652A6850684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42247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>
            <a:extLst>
              <a:ext uri="{FF2B5EF4-FFF2-40B4-BE49-F238E27FC236}">
                <a16:creationId xmlns:a16="http://schemas.microsoft.com/office/drawing/2014/main" id="{DD6A2663-A08C-DFEB-1220-4F31223BD89F}"/>
              </a:ext>
            </a:extLst>
          </p:cNvPr>
          <p:cNvSpPr txBox="1"/>
          <p:nvPr/>
        </p:nvSpPr>
        <p:spPr>
          <a:xfrm>
            <a:off x="5889620" y="2806534"/>
            <a:ext cx="986188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sit.gw.pnd.dev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2047903B-D4DD-5286-7D82-BF9F6C08C646}"/>
              </a:ext>
            </a:extLst>
          </p:cNvPr>
          <p:cNvSpPr txBox="1"/>
          <p:nvPr/>
        </p:nvSpPr>
        <p:spPr>
          <a:xfrm>
            <a:off x="4609220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sit.gw.apigw.dev.lz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88" name="矩形 1087">
            <a:extLst>
              <a:ext uri="{FF2B5EF4-FFF2-40B4-BE49-F238E27FC236}">
                <a16:creationId xmlns:a16="http://schemas.microsoft.com/office/drawing/2014/main" id="{FA227688-FA7B-29AC-C22D-2B9217793F7F}"/>
              </a:ext>
            </a:extLst>
          </p:cNvPr>
          <p:cNvSpPr/>
          <p:nvPr/>
        </p:nvSpPr>
        <p:spPr>
          <a:xfrm>
            <a:off x="4058838" y="3982017"/>
            <a:ext cx="5508399" cy="1154650"/>
          </a:xfrm>
          <a:prstGeom prst="rect">
            <a:avLst/>
          </a:prstGeom>
          <a:solidFill>
            <a:srgbClr val="DEF4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rPr>
              <a:t>Í</a:t>
            </a: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1089" name="矩形 1088">
            <a:extLst>
              <a:ext uri="{FF2B5EF4-FFF2-40B4-BE49-F238E27FC236}">
                <a16:creationId xmlns:a16="http://schemas.microsoft.com/office/drawing/2014/main" id="{94EC9CAD-E7D5-DEE4-8611-EBFC9D0E8551}"/>
              </a:ext>
            </a:extLst>
          </p:cNvPr>
          <p:cNvSpPr/>
          <p:nvPr/>
        </p:nvSpPr>
        <p:spPr>
          <a:xfrm>
            <a:off x="4058838" y="5237261"/>
            <a:ext cx="5508399" cy="763200"/>
          </a:xfrm>
          <a:prstGeom prst="rect">
            <a:avLst/>
          </a:prstGeom>
          <a:solidFill>
            <a:srgbClr val="DEF4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25" name="矩形 324">
            <a:extLst>
              <a:ext uri="{FF2B5EF4-FFF2-40B4-BE49-F238E27FC236}">
                <a16:creationId xmlns:a16="http://schemas.microsoft.com/office/drawing/2014/main" id="{B49DA89E-5CD4-2463-3E3E-B06C16514F11}"/>
              </a:ext>
            </a:extLst>
          </p:cNvPr>
          <p:cNvSpPr/>
          <p:nvPr/>
        </p:nvSpPr>
        <p:spPr>
          <a:xfrm>
            <a:off x="7545673" y="5276992"/>
            <a:ext cx="1513390" cy="302872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42" name="图形 341">
            <a:extLst>
              <a:ext uri="{FF2B5EF4-FFF2-40B4-BE49-F238E27FC236}">
                <a16:creationId xmlns:a16="http://schemas.microsoft.com/office/drawing/2014/main" id="{8D1A4D5F-5BCC-4633-9ED2-2C7386E4F0F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609073" y="5297860"/>
            <a:ext cx="209106" cy="209106"/>
          </a:xfrm>
          <a:prstGeom prst="rect">
            <a:avLst/>
          </a:prstGeom>
        </p:spPr>
      </p:pic>
      <p:pic>
        <p:nvPicPr>
          <p:cNvPr id="343" name="图形 342">
            <a:extLst>
              <a:ext uri="{FF2B5EF4-FFF2-40B4-BE49-F238E27FC236}">
                <a16:creationId xmlns:a16="http://schemas.microsoft.com/office/drawing/2014/main" id="{788249B1-2F8A-4EF3-2B1E-D533DEEC55D7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908992" y="5297860"/>
            <a:ext cx="209106" cy="209106"/>
          </a:xfrm>
          <a:prstGeom prst="rect">
            <a:avLst/>
          </a:prstGeom>
        </p:spPr>
      </p:pic>
      <p:pic>
        <p:nvPicPr>
          <p:cNvPr id="346" name="图形 345">
            <a:extLst>
              <a:ext uri="{FF2B5EF4-FFF2-40B4-BE49-F238E27FC236}">
                <a16:creationId xmlns:a16="http://schemas.microsoft.com/office/drawing/2014/main" id="{8B79EDA6-2C9D-E444-73E3-A3BE3250E960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460256" y="5297860"/>
            <a:ext cx="209106" cy="209106"/>
          </a:xfrm>
          <a:prstGeom prst="rect">
            <a:avLst/>
          </a:prstGeom>
        </p:spPr>
      </p:pic>
      <p:pic>
        <p:nvPicPr>
          <p:cNvPr id="349" name="图形 348">
            <a:extLst>
              <a:ext uri="{FF2B5EF4-FFF2-40B4-BE49-F238E27FC236}">
                <a16:creationId xmlns:a16="http://schemas.microsoft.com/office/drawing/2014/main" id="{C9967403-2EC7-C2C4-F134-DBA212C6588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773235" y="5297860"/>
            <a:ext cx="209106" cy="209106"/>
          </a:xfrm>
          <a:prstGeom prst="rect">
            <a:avLst/>
          </a:prstGeom>
        </p:spPr>
      </p:pic>
      <p:sp>
        <p:nvSpPr>
          <p:cNvPr id="350" name="文本框 349">
            <a:extLst>
              <a:ext uri="{FF2B5EF4-FFF2-40B4-BE49-F238E27FC236}">
                <a16:creationId xmlns:a16="http://schemas.microsoft.com/office/drawing/2014/main" id="{BA8DCA89-E173-BB2E-1916-61448247EE41}"/>
              </a:ext>
            </a:extLst>
          </p:cNvPr>
          <p:cNvSpPr txBox="1"/>
          <p:nvPr/>
        </p:nvSpPr>
        <p:spPr>
          <a:xfrm rot="10800000">
            <a:off x="8068988" y="5327194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7A860E97-F039-DFB1-1407-6325E6932956}"/>
              </a:ext>
            </a:extLst>
          </p:cNvPr>
          <p:cNvSpPr/>
          <p:nvPr/>
        </p:nvSpPr>
        <p:spPr>
          <a:xfrm>
            <a:off x="7543071" y="5647801"/>
            <a:ext cx="1513390" cy="316581"/>
          </a:xfrm>
          <a:prstGeom prst="rect">
            <a:avLst/>
          </a:prstGeom>
          <a:solidFill>
            <a:srgbClr val="B6E7FF">
              <a:alpha val="12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52" name="Picture 4">
            <a:extLst>
              <a:ext uri="{FF2B5EF4-FFF2-40B4-BE49-F238E27FC236}">
                <a16:creationId xmlns:a16="http://schemas.microsoft.com/office/drawing/2014/main" id="{2C8605B7-F852-EC82-3288-353C5A414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804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1" name="Picture 4">
            <a:extLst>
              <a:ext uri="{FF2B5EF4-FFF2-40B4-BE49-F238E27FC236}">
                <a16:creationId xmlns:a16="http://schemas.microsoft.com/office/drawing/2014/main" id="{D46C43E0-455C-C0C7-DF28-D6637CF75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723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1" name="Picture 4">
            <a:extLst>
              <a:ext uri="{FF2B5EF4-FFF2-40B4-BE49-F238E27FC236}">
                <a16:creationId xmlns:a16="http://schemas.microsoft.com/office/drawing/2014/main" id="{61A3A1BC-8614-D5CC-BA15-D9BC57A04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987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2" name="Picture 4">
            <a:extLst>
              <a:ext uri="{FF2B5EF4-FFF2-40B4-BE49-F238E27FC236}">
                <a16:creationId xmlns:a16="http://schemas.microsoft.com/office/drawing/2014/main" id="{D4E6F5C4-03FB-89DF-C5FD-8E6BB047D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966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6" name="文本框 435">
            <a:extLst>
              <a:ext uri="{FF2B5EF4-FFF2-40B4-BE49-F238E27FC236}">
                <a16:creationId xmlns:a16="http://schemas.microsoft.com/office/drawing/2014/main" id="{3970C8AC-DBAE-C3C1-3DDD-FC6EE1C1C33F}"/>
              </a:ext>
            </a:extLst>
          </p:cNvPr>
          <p:cNvSpPr txBox="1"/>
          <p:nvPr/>
        </p:nvSpPr>
        <p:spPr>
          <a:xfrm>
            <a:off x="7575799" y="5488828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bas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SQL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ZCM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41" name="文本框 440">
            <a:extLst>
              <a:ext uri="{FF2B5EF4-FFF2-40B4-BE49-F238E27FC236}">
                <a16:creationId xmlns:a16="http://schemas.microsoft.com/office/drawing/2014/main" id="{16BC9BF5-49C5-0051-6610-A4E9A4F11B2D}"/>
              </a:ext>
            </a:extLst>
          </p:cNvPr>
          <p:cNvSpPr txBox="1"/>
          <p:nvPr/>
        </p:nvSpPr>
        <p:spPr>
          <a:xfrm>
            <a:off x="7572962" y="5866906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with NFS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ZCM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0" name="矩形 1029">
            <a:extLst>
              <a:ext uri="{FF2B5EF4-FFF2-40B4-BE49-F238E27FC236}">
                <a16:creationId xmlns:a16="http://schemas.microsoft.com/office/drawing/2014/main" id="{2159010B-94F4-9808-A38A-1CE4C4E6245A}"/>
              </a:ext>
            </a:extLst>
          </p:cNvPr>
          <p:cNvSpPr/>
          <p:nvPr/>
        </p:nvSpPr>
        <p:spPr>
          <a:xfrm>
            <a:off x="6739286" y="3982765"/>
            <a:ext cx="640074" cy="1116845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1041" name="文本框 1040">
            <a:extLst>
              <a:ext uri="{FF2B5EF4-FFF2-40B4-BE49-F238E27FC236}">
                <a16:creationId xmlns:a16="http://schemas.microsoft.com/office/drawing/2014/main" id="{97D6DD66-B47A-04A1-4181-25D1A75B733E}"/>
              </a:ext>
            </a:extLst>
          </p:cNvPr>
          <p:cNvSpPr txBox="1"/>
          <p:nvPr/>
        </p:nvSpPr>
        <p:spPr>
          <a:xfrm rot="16200000">
            <a:off x="6776438" y="4387730"/>
            <a:ext cx="3994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1044" name="矩形 1043">
            <a:extLst>
              <a:ext uri="{FF2B5EF4-FFF2-40B4-BE49-F238E27FC236}">
                <a16:creationId xmlns:a16="http://schemas.microsoft.com/office/drawing/2014/main" id="{779B26C6-A279-6652-3526-0B005E105BE9}"/>
              </a:ext>
            </a:extLst>
          </p:cNvPr>
          <p:cNvSpPr/>
          <p:nvPr/>
        </p:nvSpPr>
        <p:spPr>
          <a:xfrm>
            <a:off x="7541405" y="3982017"/>
            <a:ext cx="1513390" cy="508309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1046" name="图形 1045">
            <a:extLst>
              <a:ext uri="{FF2B5EF4-FFF2-40B4-BE49-F238E27FC236}">
                <a16:creationId xmlns:a16="http://schemas.microsoft.com/office/drawing/2014/main" id="{23C7ADDC-57B1-8A1C-8F98-0BD36D777122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609073" y="4074077"/>
            <a:ext cx="209106" cy="209106"/>
          </a:xfrm>
          <a:prstGeom prst="rect">
            <a:avLst/>
          </a:prstGeom>
        </p:spPr>
      </p:pic>
      <p:pic>
        <p:nvPicPr>
          <p:cNvPr id="1047" name="图形 1046">
            <a:extLst>
              <a:ext uri="{FF2B5EF4-FFF2-40B4-BE49-F238E27FC236}">
                <a16:creationId xmlns:a16="http://schemas.microsoft.com/office/drawing/2014/main" id="{DE1A9609-870E-85D6-6651-CDA7583B4EA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908992" y="4074077"/>
            <a:ext cx="209106" cy="209106"/>
          </a:xfrm>
          <a:prstGeom prst="rect">
            <a:avLst/>
          </a:prstGeom>
        </p:spPr>
      </p:pic>
      <p:pic>
        <p:nvPicPr>
          <p:cNvPr id="1048" name="图形 1047">
            <a:extLst>
              <a:ext uri="{FF2B5EF4-FFF2-40B4-BE49-F238E27FC236}">
                <a16:creationId xmlns:a16="http://schemas.microsoft.com/office/drawing/2014/main" id="{BC89FCD8-975F-7E8E-0B8B-0423B4391934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460256" y="4074077"/>
            <a:ext cx="209106" cy="209106"/>
          </a:xfrm>
          <a:prstGeom prst="rect">
            <a:avLst/>
          </a:prstGeom>
        </p:spPr>
      </p:pic>
      <p:pic>
        <p:nvPicPr>
          <p:cNvPr id="1049" name="图形 1048">
            <a:extLst>
              <a:ext uri="{FF2B5EF4-FFF2-40B4-BE49-F238E27FC236}">
                <a16:creationId xmlns:a16="http://schemas.microsoft.com/office/drawing/2014/main" id="{CF9206E2-2C25-D594-E5F7-868416338F0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773235" y="4074077"/>
            <a:ext cx="209106" cy="209106"/>
          </a:xfrm>
          <a:prstGeom prst="rect">
            <a:avLst/>
          </a:prstGeom>
        </p:spPr>
      </p:pic>
      <p:sp>
        <p:nvSpPr>
          <p:cNvPr id="1050" name="文本框 1049">
            <a:extLst>
              <a:ext uri="{FF2B5EF4-FFF2-40B4-BE49-F238E27FC236}">
                <a16:creationId xmlns:a16="http://schemas.microsoft.com/office/drawing/2014/main" id="{B04A323F-1DF2-6418-D3C2-318F6563E538}"/>
              </a:ext>
            </a:extLst>
          </p:cNvPr>
          <p:cNvSpPr txBox="1"/>
          <p:nvPr/>
        </p:nvSpPr>
        <p:spPr>
          <a:xfrm rot="10800000">
            <a:off x="8068988" y="4103411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1083" name="矩形 1082">
            <a:extLst>
              <a:ext uri="{FF2B5EF4-FFF2-40B4-BE49-F238E27FC236}">
                <a16:creationId xmlns:a16="http://schemas.microsoft.com/office/drawing/2014/main" id="{7688ABAB-7B69-5259-479C-3A897CCC6FF8}"/>
              </a:ext>
            </a:extLst>
          </p:cNvPr>
          <p:cNvSpPr/>
          <p:nvPr/>
        </p:nvSpPr>
        <p:spPr>
          <a:xfrm>
            <a:off x="7545673" y="4579065"/>
            <a:ext cx="1513390" cy="557602"/>
          </a:xfrm>
          <a:prstGeom prst="rect">
            <a:avLst/>
          </a:prstGeom>
          <a:solidFill>
            <a:srgbClr val="B6E7FF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1084" name="Picture 4">
            <a:extLst>
              <a:ext uri="{FF2B5EF4-FFF2-40B4-BE49-F238E27FC236}">
                <a16:creationId xmlns:a16="http://schemas.microsoft.com/office/drawing/2014/main" id="{7DCCC8E4-499A-183F-3DF0-4F3EA8A56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804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6" name="Picture 4">
            <a:extLst>
              <a:ext uri="{FF2B5EF4-FFF2-40B4-BE49-F238E27FC236}">
                <a16:creationId xmlns:a16="http://schemas.microsoft.com/office/drawing/2014/main" id="{5E3446AF-7105-804A-B421-5DB57C043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723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7" name="Picture 4">
            <a:extLst>
              <a:ext uri="{FF2B5EF4-FFF2-40B4-BE49-F238E27FC236}">
                <a16:creationId xmlns:a16="http://schemas.microsoft.com/office/drawing/2014/main" id="{1AD4EFDE-7403-F4E1-C40C-F06BAB9F3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987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" name="Picture 4">
            <a:extLst>
              <a:ext uri="{FF2B5EF4-FFF2-40B4-BE49-F238E27FC236}">
                <a16:creationId xmlns:a16="http://schemas.microsoft.com/office/drawing/2014/main" id="{E2B46EF1-1C8F-AAFE-FE06-3305AA213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966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8" name="文本框 317">
            <a:extLst>
              <a:ext uri="{FF2B5EF4-FFF2-40B4-BE49-F238E27FC236}">
                <a16:creationId xmlns:a16="http://schemas.microsoft.com/office/drawing/2014/main" id="{31F6E694-9AB9-E6FD-5A9E-1FD9A199E04E}"/>
              </a:ext>
            </a:extLst>
          </p:cNvPr>
          <p:cNvSpPr txBox="1"/>
          <p:nvPr/>
        </p:nvSpPr>
        <p:spPr>
          <a:xfrm>
            <a:off x="7571531" y="4334243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bas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SQL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Busines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文本框 319">
            <a:extLst>
              <a:ext uri="{FF2B5EF4-FFF2-40B4-BE49-F238E27FC236}">
                <a16:creationId xmlns:a16="http://schemas.microsoft.com/office/drawing/2014/main" id="{21EA702A-44E3-2325-52CC-AA2E7BC70F65}"/>
              </a:ext>
            </a:extLst>
          </p:cNvPr>
          <p:cNvSpPr txBox="1"/>
          <p:nvPr/>
        </p:nvSpPr>
        <p:spPr>
          <a:xfrm>
            <a:off x="7575799" y="4991078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with NFS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Busines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2" name="文本框 1111">
            <a:extLst>
              <a:ext uri="{FF2B5EF4-FFF2-40B4-BE49-F238E27FC236}">
                <a16:creationId xmlns:a16="http://schemas.microsoft.com/office/drawing/2014/main" id="{DF6D6752-8F47-6B2D-C20B-D507C44757DB}"/>
              </a:ext>
            </a:extLst>
          </p:cNvPr>
          <p:cNvSpPr txBox="1"/>
          <p:nvPr/>
        </p:nvSpPr>
        <p:spPr>
          <a:xfrm>
            <a:off x="9021991" y="4324598"/>
            <a:ext cx="4046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rvices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9" name="文本框 1118">
            <a:extLst>
              <a:ext uri="{FF2B5EF4-FFF2-40B4-BE49-F238E27FC236}">
                <a16:creationId xmlns:a16="http://schemas.microsoft.com/office/drawing/2014/main" id="{54B0BE23-46BC-CAC1-CA06-599767D3FE63}"/>
              </a:ext>
            </a:extLst>
          </p:cNvPr>
          <p:cNvSpPr txBox="1"/>
          <p:nvPr/>
        </p:nvSpPr>
        <p:spPr>
          <a:xfrm>
            <a:off x="8999839" y="5434195"/>
            <a:ext cx="5457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itoring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amp; Log Center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25" name="肘形连接符 1124">
            <a:extLst>
              <a:ext uri="{FF2B5EF4-FFF2-40B4-BE49-F238E27FC236}">
                <a16:creationId xmlns:a16="http://schemas.microsoft.com/office/drawing/2014/main" id="{D05131BA-A80D-CC5D-3040-238F5F02EFCB}"/>
              </a:ext>
            </a:extLst>
          </p:cNvPr>
          <p:cNvCxnSpPr>
            <a:cxnSpLocks/>
            <a:stCxn id="1139" idx="0"/>
            <a:endCxn id="38" idx="3"/>
          </p:cNvCxnSpPr>
          <p:nvPr/>
        </p:nvCxnSpPr>
        <p:spPr>
          <a:xfrm rot="5400000" flipH="1" flipV="1">
            <a:off x="6040113" y="5675362"/>
            <a:ext cx="907915" cy="670429"/>
          </a:xfrm>
          <a:prstGeom prst="bentConnector4">
            <a:avLst>
              <a:gd name="adj1" fmla="val 39436"/>
              <a:gd name="adj2" fmla="val 134098"/>
            </a:avLst>
          </a:prstGeom>
          <a:ln w="12700">
            <a:solidFill>
              <a:schemeClr val="tx1"/>
            </a:solidFill>
            <a:prstDash val="sysDot"/>
            <a:headEnd type="none" w="sm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C1765395-9D8C-192E-C8BE-E598739F09BE}"/>
              </a:ext>
            </a:extLst>
          </p:cNvPr>
          <p:cNvGrpSpPr/>
          <p:nvPr/>
        </p:nvGrpSpPr>
        <p:grpSpPr>
          <a:xfrm>
            <a:off x="6781762" y="4287149"/>
            <a:ext cx="555122" cy="224067"/>
            <a:chOff x="6619747" y="4326905"/>
            <a:chExt cx="555122" cy="224067"/>
          </a:xfrm>
        </p:grpSpPr>
        <p:pic>
          <p:nvPicPr>
            <p:cNvPr id="211" name="图片 210">
              <a:extLst>
                <a:ext uri="{FF2B5EF4-FFF2-40B4-BE49-F238E27FC236}">
                  <a16:creationId xmlns:a16="http://schemas.microsoft.com/office/drawing/2014/main" id="{EA564D7A-6882-39D0-5F7C-498B7E038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12" name="图片 211">
              <a:extLst>
                <a:ext uri="{FF2B5EF4-FFF2-40B4-BE49-F238E27FC236}">
                  <a16:creationId xmlns:a16="http://schemas.microsoft.com/office/drawing/2014/main" id="{46315F36-1682-D12F-A0D4-276F82C292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13" name="肘形连接符 212">
              <a:extLst>
                <a:ext uri="{FF2B5EF4-FFF2-40B4-BE49-F238E27FC236}">
                  <a16:creationId xmlns:a16="http://schemas.microsoft.com/office/drawing/2014/main" id="{94D45389-6947-BFDE-F147-AFF8D2FCCD4F}"/>
                </a:ext>
              </a:extLst>
            </p:cNvPr>
            <p:cNvCxnSpPr>
              <a:cxnSpLocks/>
              <a:stCxn id="211" idx="3"/>
              <a:endCxn id="212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4" name="矩形 213">
              <a:extLst>
                <a:ext uri="{FF2B5EF4-FFF2-40B4-BE49-F238E27FC236}">
                  <a16:creationId xmlns:a16="http://schemas.microsoft.com/office/drawing/2014/main" id="{66CCCE0B-D506-47E2-DA2F-E4B6526C5596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15" name="文本框 214">
              <a:extLst>
                <a:ext uri="{FF2B5EF4-FFF2-40B4-BE49-F238E27FC236}">
                  <a16:creationId xmlns:a16="http://schemas.microsoft.com/office/drawing/2014/main" id="{09981C20-5507-D973-94D9-B815911C5B3B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17" name="组合 216">
            <a:extLst>
              <a:ext uri="{FF2B5EF4-FFF2-40B4-BE49-F238E27FC236}">
                <a16:creationId xmlns:a16="http://schemas.microsoft.com/office/drawing/2014/main" id="{5EC281EF-8851-25C5-732C-122045621267}"/>
              </a:ext>
            </a:extLst>
          </p:cNvPr>
          <p:cNvGrpSpPr/>
          <p:nvPr/>
        </p:nvGrpSpPr>
        <p:grpSpPr>
          <a:xfrm>
            <a:off x="6781762" y="4009559"/>
            <a:ext cx="555122" cy="224067"/>
            <a:chOff x="6619747" y="4326905"/>
            <a:chExt cx="555122" cy="224067"/>
          </a:xfrm>
        </p:grpSpPr>
        <p:pic>
          <p:nvPicPr>
            <p:cNvPr id="218" name="图片 217">
              <a:extLst>
                <a:ext uri="{FF2B5EF4-FFF2-40B4-BE49-F238E27FC236}">
                  <a16:creationId xmlns:a16="http://schemas.microsoft.com/office/drawing/2014/main" id="{7C3518E1-6E7A-06C3-479F-980117E9D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20" name="图片 219">
              <a:extLst>
                <a:ext uri="{FF2B5EF4-FFF2-40B4-BE49-F238E27FC236}">
                  <a16:creationId xmlns:a16="http://schemas.microsoft.com/office/drawing/2014/main" id="{1392CD15-A0B9-9F1A-C3AA-132342976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21" name="肘形连接符 220">
              <a:extLst>
                <a:ext uri="{FF2B5EF4-FFF2-40B4-BE49-F238E27FC236}">
                  <a16:creationId xmlns:a16="http://schemas.microsoft.com/office/drawing/2014/main" id="{48FCA074-7C93-B5A3-E545-06B2411DE5ED}"/>
                </a:ext>
              </a:extLst>
            </p:cNvPr>
            <p:cNvCxnSpPr>
              <a:cxnSpLocks/>
              <a:stCxn id="218" idx="3"/>
              <a:endCxn id="220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矩形 221">
              <a:extLst>
                <a:ext uri="{FF2B5EF4-FFF2-40B4-BE49-F238E27FC236}">
                  <a16:creationId xmlns:a16="http://schemas.microsoft.com/office/drawing/2014/main" id="{22C5CEB1-5CD7-F9D6-CDB2-CC17D07624A8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3" name="文本框 222">
              <a:extLst>
                <a:ext uri="{FF2B5EF4-FFF2-40B4-BE49-F238E27FC236}">
                  <a16:creationId xmlns:a16="http://schemas.microsoft.com/office/drawing/2014/main" id="{753BF23D-54C2-D26B-FCE3-D85091398970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24" name="组合 223">
            <a:extLst>
              <a:ext uri="{FF2B5EF4-FFF2-40B4-BE49-F238E27FC236}">
                <a16:creationId xmlns:a16="http://schemas.microsoft.com/office/drawing/2014/main" id="{83BC9FC6-B5F3-C58D-35A2-1037D49C9B9B}"/>
              </a:ext>
            </a:extLst>
          </p:cNvPr>
          <p:cNvGrpSpPr/>
          <p:nvPr/>
        </p:nvGrpSpPr>
        <p:grpSpPr>
          <a:xfrm>
            <a:off x="6781762" y="4690153"/>
            <a:ext cx="555122" cy="224067"/>
            <a:chOff x="6619747" y="4326905"/>
            <a:chExt cx="555122" cy="224067"/>
          </a:xfrm>
        </p:grpSpPr>
        <p:pic>
          <p:nvPicPr>
            <p:cNvPr id="225" name="图片 224">
              <a:extLst>
                <a:ext uri="{FF2B5EF4-FFF2-40B4-BE49-F238E27FC236}">
                  <a16:creationId xmlns:a16="http://schemas.microsoft.com/office/drawing/2014/main" id="{CA1489CB-4B39-8CB4-60A3-DE9FEB7D2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26" name="图片 225">
              <a:extLst>
                <a:ext uri="{FF2B5EF4-FFF2-40B4-BE49-F238E27FC236}">
                  <a16:creationId xmlns:a16="http://schemas.microsoft.com/office/drawing/2014/main" id="{481532A7-B516-ED43-07CC-686730CCB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27" name="肘形连接符 226">
              <a:extLst>
                <a:ext uri="{FF2B5EF4-FFF2-40B4-BE49-F238E27FC236}">
                  <a16:creationId xmlns:a16="http://schemas.microsoft.com/office/drawing/2014/main" id="{D5F9D369-6E49-EABB-4FE9-577E0283268C}"/>
                </a:ext>
              </a:extLst>
            </p:cNvPr>
            <p:cNvCxnSpPr>
              <a:cxnSpLocks/>
              <a:stCxn id="225" idx="3"/>
              <a:endCxn id="226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8" name="矩形 227">
              <a:extLst>
                <a:ext uri="{FF2B5EF4-FFF2-40B4-BE49-F238E27FC236}">
                  <a16:creationId xmlns:a16="http://schemas.microsoft.com/office/drawing/2014/main" id="{D117B647-01BB-9415-86AC-E22336E46EBE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9" name="文本框 228">
              <a:extLst>
                <a:ext uri="{FF2B5EF4-FFF2-40B4-BE49-F238E27FC236}">
                  <a16:creationId xmlns:a16="http://schemas.microsoft.com/office/drawing/2014/main" id="{156D2B88-CEF8-6FC2-7D03-05F64E774ABD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113" name="组合 1112">
            <a:extLst>
              <a:ext uri="{FF2B5EF4-FFF2-40B4-BE49-F238E27FC236}">
                <a16:creationId xmlns:a16="http://schemas.microsoft.com/office/drawing/2014/main" id="{CCC54865-1173-5885-05DB-656CD0675F5A}"/>
              </a:ext>
            </a:extLst>
          </p:cNvPr>
          <p:cNvGrpSpPr/>
          <p:nvPr/>
        </p:nvGrpSpPr>
        <p:grpSpPr>
          <a:xfrm>
            <a:off x="4155119" y="3983643"/>
            <a:ext cx="2242961" cy="1026507"/>
            <a:chOff x="3641247" y="5175911"/>
            <a:chExt cx="2242961" cy="1026507"/>
          </a:xfrm>
        </p:grpSpPr>
        <p:sp>
          <p:nvSpPr>
            <p:cNvPr id="230" name="矩形 229">
              <a:extLst>
                <a:ext uri="{FF2B5EF4-FFF2-40B4-BE49-F238E27FC236}">
                  <a16:creationId xmlns:a16="http://schemas.microsoft.com/office/drawing/2014/main" id="{8E775505-E441-007A-071C-C8CF4D8F4231}"/>
                </a:ext>
              </a:extLst>
            </p:cNvPr>
            <p:cNvSpPr/>
            <p:nvPr/>
          </p:nvSpPr>
          <p:spPr>
            <a:xfrm>
              <a:off x="3641247" y="5175911"/>
              <a:ext cx="2242961" cy="1026507"/>
            </a:xfrm>
            <a:prstGeom prst="rect">
              <a:avLst/>
            </a:prstGeom>
            <a:solidFill>
              <a:srgbClr val="4DC7FF">
                <a:alpha val="30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2BA8A402-AB4C-C616-B915-7F71F38F6BED}"/>
                </a:ext>
              </a:extLst>
            </p:cNvPr>
            <p:cNvSpPr/>
            <p:nvPr/>
          </p:nvSpPr>
          <p:spPr>
            <a:xfrm>
              <a:off x="3662183" y="5359204"/>
              <a:ext cx="2156527" cy="719149"/>
            </a:xfrm>
            <a:prstGeom prst="rect">
              <a:avLst/>
            </a:prstGeom>
            <a:solidFill>
              <a:srgbClr val="316CE5">
                <a:alpha val="15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235" name="图片 234">
              <a:extLst>
                <a:ext uri="{FF2B5EF4-FFF2-40B4-BE49-F238E27FC236}">
                  <a16:creationId xmlns:a16="http://schemas.microsoft.com/office/drawing/2014/main" id="{F564D96D-17DC-CB19-9CFA-92B03763A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268937" y="5386158"/>
              <a:ext cx="195044" cy="188949"/>
            </a:xfrm>
            <a:prstGeom prst="rect">
              <a:avLst/>
            </a:prstGeom>
          </p:spPr>
        </p:pic>
        <p:pic>
          <p:nvPicPr>
            <p:cNvPr id="237" name="图片 236">
              <a:extLst>
                <a:ext uri="{FF2B5EF4-FFF2-40B4-BE49-F238E27FC236}">
                  <a16:creationId xmlns:a16="http://schemas.microsoft.com/office/drawing/2014/main" id="{D9197C7C-F479-B931-3DF1-3627458C2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581938" y="5387032"/>
              <a:ext cx="193240" cy="187200"/>
            </a:xfrm>
            <a:prstGeom prst="rect">
              <a:avLst/>
            </a:prstGeom>
          </p:spPr>
        </p:pic>
        <p:cxnSp>
          <p:nvCxnSpPr>
            <p:cNvPr id="238" name="肘形连接符 237">
              <a:extLst>
                <a:ext uri="{FF2B5EF4-FFF2-40B4-BE49-F238E27FC236}">
                  <a16:creationId xmlns:a16="http://schemas.microsoft.com/office/drawing/2014/main" id="{CCABEF89-DB22-0110-FD74-D94A00719B67}"/>
                </a:ext>
              </a:extLst>
            </p:cNvPr>
            <p:cNvCxnSpPr>
              <a:cxnSpLocks/>
              <a:stCxn id="498" idx="3"/>
              <a:endCxn id="235" idx="1"/>
            </p:cNvCxnSpPr>
            <p:nvPr/>
          </p:nvCxnSpPr>
          <p:spPr>
            <a:xfrm flipV="1">
              <a:off x="4831943" y="5480633"/>
              <a:ext cx="436994" cy="227044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肘形连接符 238">
              <a:extLst>
                <a:ext uri="{FF2B5EF4-FFF2-40B4-BE49-F238E27FC236}">
                  <a16:creationId xmlns:a16="http://schemas.microsoft.com/office/drawing/2014/main" id="{B29A8CDE-267E-1E5D-EE32-C67DE7C43FD0}"/>
                </a:ext>
              </a:extLst>
            </p:cNvPr>
            <p:cNvCxnSpPr>
              <a:cxnSpLocks/>
              <a:stCxn id="235" idx="3"/>
              <a:endCxn id="237" idx="1"/>
            </p:cNvCxnSpPr>
            <p:nvPr/>
          </p:nvCxnSpPr>
          <p:spPr>
            <a:xfrm flipV="1">
              <a:off x="5463981" y="5480632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矩形 240">
              <a:extLst>
                <a:ext uri="{FF2B5EF4-FFF2-40B4-BE49-F238E27FC236}">
                  <a16:creationId xmlns:a16="http://schemas.microsoft.com/office/drawing/2014/main" id="{977E41A1-AD25-5B2E-2776-55E66677420A}"/>
                </a:ext>
              </a:extLst>
            </p:cNvPr>
            <p:cNvSpPr/>
            <p:nvPr/>
          </p:nvSpPr>
          <p:spPr>
            <a:xfrm>
              <a:off x="5261311" y="5389042"/>
              <a:ext cx="523793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242" name="图片 241">
              <a:extLst>
                <a:ext uri="{FF2B5EF4-FFF2-40B4-BE49-F238E27FC236}">
                  <a16:creationId xmlns:a16="http://schemas.microsoft.com/office/drawing/2014/main" id="{F7AE1854-26AA-75FC-D881-FF21E23B1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266593" y="5819893"/>
              <a:ext cx="195044" cy="188949"/>
            </a:xfrm>
            <a:prstGeom prst="rect">
              <a:avLst/>
            </a:prstGeom>
          </p:spPr>
        </p:pic>
        <p:pic>
          <p:nvPicPr>
            <p:cNvPr id="243" name="图片 242">
              <a:extLst>
                <a:ext uri="{FF2B5EF4-FFF2-40B4-BE49-F238E27FC236}">
                  <a16:creationId xmlns:a16="http://schemas.microsoft.com/office/drawing/2014/main" id="{C3C22620-F6FE-EB1D-8947-1E7EF63A9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579594" y="5820767"/>
              <a:ext cx="193240" cy="187200"/>
            </a:xfrm>
            <a:prstGeom prst="rect">
              <a:avLst/>
            </a:prstGeom>
          </p:spPr>
        </p:pic>
        <p:cxnSp>
          <p:nvCxnSpPr>
            <p:cNvPr id="244" name="肘形连接符 243">
              <a:extLst>
                <a:ext uri="{FF2B5EF4-FFF2-40B4-BE49-F238E27FC236}">
                  <a16:creationId xmlns:a16="http://schemas.microsoft.com/office/drawing/2014/main" id="{97387652-CB0A-9E51-2FBB-A187FA98597D}"/>
                </a:ext>
              </a:extLst>
            </p:cNvPr>
            <p:cNvCxnSpPr>
              <a:cxnSpLocks/>
              <a:stCxn id="242" idx="3"/>
              <a:endCxn id="243" idx="1"/>
            </p:cNvCxnSpPr>
            <p:nvPr/>
          </p:nvCxnSpPr>
          <p:spPr>
            <a:xfrm flipV="1">
              <a:off x="5461637" y="591436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5" name="矩形 244">
              <a:extLst>
                <a:ext uri="{FF2B5EF4-FFF2-40B4-BE49-F238E27FC236}">
                  <a16:creationId xmlns:a16="http://schemas.microsoft.com/office/drawing/2014/main" id="{CB01F12C-4E45-5E63-C3F8-1DE51D6DDBA1}"/>
                </a:ext>
              </a:extLst>
            </p:cNvPr>
            <p:cNvSpPr/>
            <p:nvPr/>
          </p:nvSpPr>
          <p:spPr>
            <a:xfrm>
              <a:off x="5258967" y="5822777"/>
              <a:ext cx="523793" cy="226271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246" name="肘形连接符 245">
              <a:extLst>
                <a:ext uri="{FF2B5EF4-FFF2-40B4-BE49-F238E27FC236}">
                  <a16:creationId xmlns:a16="http://schemas.microsoft.com/office/drawing/2014/main" id="{8801FDF6-DE6A-063E-E249-DA50971607A2}"/>
                </a:ext>
              </a:extLst>
            </p:cNvPr>
            <p:cNvCxnSpPr>
              <a:cxnSpLocks/>
              <a:stCxn id="498" idx="3"/>
              <a:endCxn id="242" idx="1"/>
            </p:cNvCxnSpPr>
            <p:nvPr/>
          </p:nvCxnSpPr>
          <p:spPr>
            <a:xfrm>
              <a:off x="4831943" y="5707677"/>
              <a:ext cx="434650" cy="20669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7" name="图片 246">
              <a:extLst>
                <a:ext uri="{FF2B5EF4-FFF2-40B4-BE49-F238E27FC236}">
                  <a16:creationId xmlns:a16="http://schemas.microsoft.com/office/drawing/2014/main" id="{1A80E3FA-F15A-2FAF-1388-5A05F5874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696027" y="5387232"/>
              <a:ext cx="195044" cy="188949"/>
            </a:xfrm>
            <a:prstGeom prst="rect">
              <a:avLst/>
            </a:prstGeom>
          </p:spPr>
        </p:pic>
        <p:pic>
          <p:nvPicPr>
            <p:cNvPr id="248" name="图片 247">
              <a:extLst>
                <a:ext uri="{FF2B5EF4-FFF2-40B4-BE49-F238E27FC236}">
                  <a16:creationId xmlns:a16="http://schemas.microsoft.com/office/drawing/2014/main" id="{D059F261-8A3A-7006-9801-47C2200A7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009028" y="5388106"/>
              <a:ext cx="193240" cy="187200"/>
            </a:xfrm>
            <a:prstGeom prst="rect">
              <a:avLst/>
            </a:prstGeom>
          </p:spPr>
        </p:pic>
        <p:cxnSp>
          <p:nvCxnSpPr>
            <p:cNvPr id="1091" name="肘形连接符 1090">
              <a:extLst>
                <a:ext uri="{FF2B5EF4-FFF2-40B4-BE49-F238E27FC236}">
                  <a16:creationId xmlns:a16="http://schemas.microsoft.com/office/drawing/2014/main" id="{9A5B6C4D-E2CF-71BD-F7FC-39C7A82E114B}"/>
                </a:ext>
              </a:extLst>
            </p:cNvPr>
            <p:cNvCxnSpPr>
              <a:cxnSpLocks/>
              <a:stCxn id="247" idx="3"/>
              <a:endCxn id="248" idx="1"/>
            </p:cNvCxnSpPr>
            <p:nvPr/>
          </p:nvCxnSpPr>
          <p:spPr>
            <a:xfrm flipV="1">
              <a:off x="3891071" y="5481706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2" name="矩形 1091">
              <a:extLst>
                <a:ext uri="{FF2B5EF4-FFF2-40B4-BE49-F238E27FC236}">
                  <a16:creationId xmlns:a16="http://schemas.microsoft.com/office/drawing/2014/main" id="{2CF9C768-E50B-9353-8908-80AAE6885FC9}"/>
                </a:ext>
              </a:extLst>
            </p:cNvPr>
            <p:cNvSpPr/>
            <p:nvPr/>
          </p:nvSpPr>
          <p:spPr>
            <a:xfrm>
              <a:off x="3688401" y="5390117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093" name="文本框 1092">
              <a:extLst>
                <a:ext uri="{FF2B5EF4-FFF2-40B4-BE49-F238E27FC236}">
                  <a16:creationId xmlns:a16="http://schemas.microsoft.com/office/drawing/2014/main" id="{223CA799-CC34-C748-2280-7B4CF16D6111}"/>
                </a:ext>
              </a:extLst>
            </p:cNvPr>
            <p:cNvSpPr txBox="1"/>
            <p:nvPr/>
          </p:nvSpPr>
          <p:spPr>
            <a:xfrm>
              <a:off x="3849420" y="5536580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1095" name="图片 1094">
              <a:extLst>
                <a:ext uri="{FF2B5EF4-FFF2-40B4-BE49-F238E27FC236}">
                  <a16:creationId xmlns:a16="http://schemas.microsoft.com/office/drawing/2014/main" id="{7C7A7302-C0A9-6965-8543-27FA37D82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699445" y="5819939"/>
              <a:ext cx="195044" cy="188949"/>
            </a:xfrm>
            <a:prstGeom prst="rect">
              <a:avLst/>
            </a:prstGeom>
          </p:spPr>
        </p:pic>
        <p:pic>
          <p:nvPicPr>
            <p:cNvPr id="1096" name="图片 1095">
              <a:extLst>
                <a:ext uri="{FF2B5EF4-FFF2-40B4-BE49-F238E27FC236}">
                  <a16:creationId xmlns:a16="http://schemas.microsoft.com/office/drawing/2014/main" id="{8B90D993-1E4C-059C-3088-BAE66CF12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012446" y="5820813"/>
              <a:ext cx="193240" cy="187200"/>
            </a:xfrm>
            <a:prstGeom prst="rect">
              <a:avLst/>
            </a:prstGeom>
          </p:spPr>
        </p:pic>
        <p:cxnSp>
          <p:nvCxnSpPr>
            <p:cNvPr id="1097" name="肘形连接符 1096">
              <a:extLst>
                <a:ext uri="{FF2B5EF4-FFF2-40B4-BE49-F238E27FC236}">
                  <a16:creationId xmlns:a16="http://schemas.microsoft.com/office/drawing/2014/main" id="{4B4F508B-C8EE-AA68-D214-6CA38ECAD896}"/>
                </a:ext>
              </a:extLst>
            </p:cNvPr>
            <p:cNvCxnSpPr>
              <a:cxnSpLocks/>
              <a:stCxn id="1095" idx="3"/>
              <a:endCxn id="1096" idx="1"/>
            </p:cNvCxnSpPr>
            <p:nvPr/>
          </p:nvCxnSpPr>
          <p:spPr>
            <a:xfrm flipV="1">
              <a:off x="3894489" y="5914413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8" name="矩形 1097">
              <a:extLst>
                <a:ext uri="{FF2B5EF4-FFF2-40B4-BE49-F238E27FC236}">
                  <a16:creationId xmlns:a16="http://schemas.microsoft.com/office/drawing/2014/main" id="{010597D2-A359-DD8D-997E-E62A025B559B}"/>
                </a:ext>
              </a:extLst>
            </p:cNvPr>
            <p:cNvSpPr/>
            <p:nvPr/>
          </p:nvSpPr>
          <p:spPr>
            <a:xfrm>
              <a:off x="3691819" y="5822824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100" name="肘形连接符 1099">
              <a:extLst>
                <a:ext uri="{FF2B5EF4-FFF2-40B4-BE49-F238E27FC236}">
                  <a16:creationId xmlns:a16="http://schemas.microsoft.com/office/drawing/2014/main" id="{732580DC-791C-80C6-A2A4-BFED20C701E0}"/>
                </a:ext>
              </a:extLst>
            </p:cNvPr>
            <p:cNvCxnSpPr>
              <a:cxnSpLocks/>
              <a:stCxn id="248" idx="3"/>
              <a:endCxn id="498" idx="1"/>
            </p:cNvCxnSpPr>
            <p:nvPr/>
          </p:nvCxnSpPr>
          <p:spPr>
            <a:xfrm>
              <a:off x="4202268" y="5481706"/>
              <a:ext cx="372359" cy="22597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1" name="肘形连接符 1100">
              <a:extLst>
                <a:ext uri="{FF2B5EF4-FFF2-40B4-BE49-F238E27FC236}">
                  <a16:creationId xmlns:a16="http://schemas.microsoft.com/office/drawing/2014/main" id="{E126E61E-669E-D06D-23C5-6C00AD359B74}"/>
                </a:ext>
              </a:extLst>
            </p:cNvPr>
            <p:cNvCxnSpPr>
              <a:cxnSpLocks/>
              <a:stCxn id="1096" idx="3"/>
              <a:endCxn id="498" idx="1"/>
            </p:cNvCxnSpPr>
            <p:nvPr/>
          </p:nvCxnSpPr>
          <p:spPr>
            <a:xfrm flipV="1">
              <a:off x="4205686" y="5707677"/>
              <a:ext cx="368941" cy="206736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7" name="文本框 1106">
              <a:extLst>
                <a:ext uri="{FF2B5EF4-FFF2-40B4-BE49-F238E27FC236}">
                  <a16:creationId xmlns:a16="http://schemas.microsoft.com/office/drawing/2014/main" id="{DB8EA53D-63A7-EF71-F836-F57F409C926C}"/>
                </a:ext>
              </a:extLst>
            </p:cNvPr>
            <p:cNvSpPr txBox="1"/>
            <p:nvPr/>
          </p:nvSpPr>
          <p:spPr>
            <a:xfrm>
              <a:off x="3849420" y="597723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08" name="文本框 1107">
              <a:extLst>
                <a:ext uri="{FF2B5EF4-FFF2-40B4-BE49-F238E27FC236}">
                  <a16:creationId xmlns:a16="http://schemas.microsoft.com/office/drawing/2014/main" id="{0F1DA80F-4B17-D211-FC4B-5E1AA8093EC7}"/>
                </a:ext>
              </a:extLst>
            </p:cNvPr>
            <p:cNvSpPr txBox="1"/>
            <p:nvPr/>
          </p:nvSpPr>
          <p:spPr>
            <a:xfrm>
              <a:off x="5421045" y="5541050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09" name="文本框 1108">
              <a:extLst>
                <a:ext uri="{FF2B5EF4-FFF2-40B4-BE49-F238E27FC236}">
                  <a16:creationId xmlns:a16="http://schemas.microsoft.com/office/drawing/2014/main" id="{5CAE5AB9-460C-5E71-586D-D0E0A416F56F}"/>
                </a:ext>
              </a:extLst>
            </p:cNvPr>
            <p:cNvSpPr txBox="1"/>
            <p:nvPr/>
          </p:nvSpPr>
          <p:spPr>
            <a:xfrm>
              <a:off x="5424220" y="5987494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cxnSp>
        <p:nvCxnSpPr>
          <p:cNvPr id="353" name="肘形连接符 352">
            <a:extLst>
              <a:ext uri="{FF2B5EF4-FFF2-40B4-BE49-F238E27FC236}">
                <a16:creationId xmlns:a16="http://schemas.microsoft.com/office/drawing/2014/main" id="{160390C1-05F6-5E96-A1FB-A6D6F485620C}"/>
              </a:ext>
            </a:extLst>
          </p:cNvPr>
          <p:cNvCxnSpPr>
            <a:cxnSpLocks/>
            <a:stCxn id="237" idx="0"/>
            <a:endCxn id="374" idx="2"/>
          </p:cNvCxnSpPr>
          <p:nvPr/>
        </p:nvCxnSpPr>
        <p:spPr>
          <a:xfrm rot="16200000" flipV="1">
            <a:off x="6046058" y="4048391"/>
            <a:ext cx="291822" cy="923"/>
          </a:xfrm>
          <a:prstGeom prst="bentConnector3">
            <a:avLst>
              <a:gd name="adj1" fmla="val 50000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74" name="图形 373">
            <a:extLst>
              <a:ext uri="{FF2B5EF4-FFF2-40B4-BE49-F238E27FC236}">
                <a16:creationId xmlns:a16="http://schemas.microsoft.com/office/drawing/2014/main" id="{9253F262-929E-A4F5-83D1-281D7DBA40A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6083507" y="3686942"/>
            <a:ext cx="216000" cy="216000"/>
          </a:xfrm>
          <a:prstGeom prst="rect">
            <a:avLst/>
          </a:prstGeom>
        </p:spPr>
      </p:pic>
      <p:cxnSp>
        <p:nvCxnSpPr>
          <p:cNvPr id="37" name="肘形连接符 36">
            <a:extLst>
              <a:ext uri="{FF2B5EF4-FFF2-40B4-BE49-F238E27FC236}">
                <a16:creationId xmlns:a16="http://schemas.microsoft.com/office/drawing/2014/main" id="{348576D2-54F1-2A97-68C5-A194C073EFE5}"/>
              </a:ext>
            </a:extLst>
          </p:cNvPr>
          <p:cNvCxnSpPr>
            <a:cxnSpLocks/>
            <a:stCxn id="243" idx="3"/>
            <a:endCxn id="1081" idx="2"/>
          </p:cNvCxnSpPr>
          <p:nvPr/>
        </p:nvCxnSpPr>
        <p:spPr>
          <a:xfrm flipV="1">
            <a:off x="6286706" y="3906572"/>
            <a:ext cx="290743" cy="815527"/>
          </a:xfrm>
          <a:prstGeom prst="bentConnector2">
            <a:avLst/>
          </a:prstGeom>
          <a:ln w="12700">
            <a:solidFill>
              <a:srgbClr val="FF9300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文本框 45">
            <a:extLst>
              <a:ext uri="{FF2B5EF4-FFF2-40B4-BE49-F238E27FC236}">
                <a16:creationId xmlns:a16="http://schemas.microsoft.com/office/drawing/2014/main" id="{F1A04210-3FE7-728A-D77D-9E484FD7BE98}"/>
              </a:ext>
            </a:extLst>
          </p:cNvPr>
          <p:cNvSpPr txBox="1"/>
          <p:nvPr/>
        </p:nvSpPr>
        <p:spPr>
          <a:xfrm rot="10800000">
            <a:off x="8068988" y="4763122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638EE20-7A0F-676A-D473-E711D12EA39D}"/>
              </a:ext>
            </a:extLst>
          </p:cNvPr>
          <p:cNvSpPr txBox="1"/>
          <p:nvPr/>
        </p:nvSpPr>
        <p:spPr>
          <a:xfrm rot="10800000">
            <a:off x="8068988" y="5720504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D36EC0EC-28CB-B446-BCD8-9449923C5E85}"/>
              </a:ext>
            </a:extLst>
          </p:cNvPr>
          <p:cNvSpPr txBox="1"/>
          <p:nvPr/>
        </p:nvSpPr>
        <p:spPr>
          <a:xfrm>
            <a:off x="6516149" y="4147737"/>
            <a:ext cx="125034" cy="76944"/>
          </a:xfrm>
          <a:prstGeom prst="rect">
            <a:avLst/>
          </a:prstGeom>
          <a:solidFill>
            <a:srgbClr val="DEF4FF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98DB399A-CDEC-CEE7-24AC-9A8B7C37769B}"/>
              </a:ext>
            </a:extLst>
          </p:cNvPr>
          <p:cNvSpPr txBox="1"/>
          <p:nvPr/>
        </p:nvSpPr>
        <p:spPr>
          <a:xfrm rot="5400000">
            <a:off x="5996922" y="4483679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A78E94C1-EF0C-C612-EFE6-1B476FF92E78}"/>
              </a:ext>
            </a:extLst>
          </p:cNvPr>
          <p:cNvSpPr txBox="1"/>
          <p:nvPr/>
        </p:nvSpPr>
        <p:spPr>
          <a:xfrm rot="5400000">
            <a:off x="4428014" y="4480665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0" name="文本框 1109">
            <a:extLst>
              <a:ext uri="{FF2B5EF4-FFF2-40B4-BE49-F238E27FC236}">
                <a16:creationId xmlns:a16="http://schemas.microsoft.com/office/drawing/2014/main" id="{DFFE6500-B8C4-48C5-89F8-970239D37F66}"/>
              </a:ext>
            </a:extLst>
          </p:cNvPr>
          <p:cNvSpPr txBox="1"/>
          <p:nvPr/>
        </p:nvSpPr>
        <p:spPr>
          <a:xfrm rot="5400000">
            <a:off x="4441653" y="5481380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1" name="文本框 1110">
            <a:extLst>
              <a:ext uri="{FF2B5EF4-FFF2-40B4-BE49-F238E27FC236}">
                <a16:creationId xmlns:a16="http://schemas.microsoft.com/office/drawing/2014/main" id="{E2EADEC8-5327-58AA-BDE1-5D5B56F5EEA3}"/>
              </a:ext>
            </a:extLst>
          </p:cNvPr>
          <p:cNvSpPr txBox="1"/>
          <p:nvPr/>
        </p:nvSpPr>
        <p:spPr>
          <a:xfrm rot="5400000">
            <a:off x="6014662" y="5481760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肘形连接符 11">
            <a:extLst>
              <a:ext uri="{FF2B5EF4-FFF2-40B4-BE49-F238E27FC236}">
                <a16:creationId xmlns:a16="http://schemas.microsoft.com/office/drawing/2014/main" id="{8543D85E-2674-B940-FC36-E2B02B7ABCAB}"/>
              </a:ext>
            </a:extLst>
          </p:cNvPr>
          <p:cNvCxnSpPr>
            <a:cxnSpLocks/>
            <a:stCxn id="374" idx="3"/>
            <a:endCxn id="1081" idx="1"/>
          </p:cNvCxnSpPr>
          <p:nvPr/>
        </p:nvCxnSpPr>
        <p:spPr>
          <a:xfrm>
            <a:off x="6299507" y="3794942"/>
            <a:ext cx="166328" cy="17"/>
          </a:xfrm>
          <a:prstGeom prst="bentConnector3">
            <a:avLst>
              <a:gd name="adj1" fmla="val 50000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FAB51B00-9CE6-9B52-8855-549AB3B57E7C}"/>
              </a:ext>
            </a:extLst>
          </p:cNvPr>
          <p:cNvSpPr txBox="1"/>
          <p:nvPr/>
        </p:nvSpPr>
        <p:spPr>
          <a:xfrm>
            <a:off x="6815663" y="6483617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80" name="组合 1079">
            <a:extLst>
              <a:ext uri="{FF2B5EF4-FFF2-40B4-BE49-F238E27FC236}">
                <a16:creationId xmlns:a16="http://schemas.microsoft.com/office/drawing/2014/main" id="{ADC2A273-2D03-6CF8-4BE2-0771989C7EE7}"/>
              </a:ext>
            </a:extLst>
          </p:cNvPr>
          <p:cNvGrpSpPr/>
          <p:nvPr/>
        </p:nvGrpSpPr>
        <p:grpSpPr>
          <a:xfrm>
            <a:off x="6465835" y="3683345"/>
            <a:ext cx="223227" cy="223227"/>
            <a:chOff x="4995029" y="3593255"/>
            <a:chExt cx="223227" cy="223227"/>
          </a:xfrm>
        </p:grpSpPr>
        <p:pic>
          <p:nvPicPr>
            <p:cNvPr id="1081" name="图形 1080">
              <a:extLst>
                <a:ext uri="{FF2B5EF4-FFF2-40B4-BE49-F238E27FC236}">
                  <a16:creationId xmlns:a16="http://schemas.microsoft.com/office/drawing/2014/main" id="{6F28EB50-1A52-6ABD-979E-CB394FAD30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085" name="矩形 1084">
              <a:extLst>
                <a:ext uri="{FF2B5EF4-FFF2-40B4-BE49-F238E27FC236}">
                  <a16:creationId xmlns:a16="http://schemas.microsoft.com/office/drawing/2014/main" id="{2BEF9823-2CD0-D0B7-E7BF-BA6027AF73D3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9DEA573D-448F-01DF-08CD-ED30A7E30B86}"/>
              </a:ext>
            </a:extLst>
          </p:cNvPr>
          <p:cNvSpPr/>
          <p:nvPr/>
        </p:nvSpPr>
        <p:spPr>
          <a:xfrm>
            <a:off x="9740530" y="4100134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0" name="肘形连接符 1039">
            <a:extLst>
              <a:ext uri="{FF2B5EF4-FFF2-40B4-BE49-F238E27FC236}">
                <a16:creationId xmlns:a16="http://schemas.microsoft.com/office/drawing/2014/main" id="{B52DB04A-BF40-AE7A-51DA-A646D89DC42C}"/>
              </a:ext>
            </a:extLst>
          </p:cNvPr>
          <p:cNvCxnSpPr>
            <a:cxnSpLocks/>
            <a:stCxn id="1081" idx="0"/>
            <a:endCxn id="1025" idx="0"/>
          </p:cNvCxnSpPr>
          <p:nvPr/>
        </p:nvCxnSpPr>
        <p:spPr>
          <a:xfrm rot="16200000" flipH="1">
            <a:off x="8050035" y="2210758"/>
            <a:ext cx="416789" cy="3361963"/>
          </a:xfrm>
          <a:prstGeom prst="bentConnector3">
            <a:avLst>
              <a:gd name="adj1" fmla="val -81874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2" name="文本框 191">
            <a:extLst>
              <a:ext uri="{FF2B5EF4-FFF2-40B4-BE49-F238E27FC236}">
                <a16:creationId xmlns:a16="http://schemas.microsoft.com/office/drawing/2014/main" id="{5FF6DF77-5CA8-671D-A2F2-C5DA496F8E2D}"/>
              </a:ext>
            </a:extLst>
          </p:cNvPr>
          <p:cNvSpPr txBox="1"/>
          <p:nvPr/>
        </p:nvSpPr>
        <p:spPr>
          <a:xfrm>
            <a:off x="6469125" y="3533945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7A6F24-1B93-360E-932E-41C17B557B42}"/>
              </a:ext>
            </a:extLst>
          </p:cNvPr>
          <p:cNvSpPr txBox="1"/>
          <p:nvPr/>
        </p:nvSpPr>
        <p:spPr>
          <a:xfrm>
            <a:off x="9634135" y="4521713"/>
            <a:ext cx="206787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9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678211D-4314-A4CB-768D-87FB886D246C}"/>
              </a:ext>
            </a:extLst>
          </p:cNvPr>
          <p:cNvSpPr txBox="1"/>
          <p:nvPr/>
        </p:nvSpPr>
        <p:spPr>
          <a:xfrm>
            <a:off x="9962326" y="3943547"/>
            <a:ext cx="242707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10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45" name="文本框 1044">
            <a:extLst>
              <a:ext uri="{FF2B5EF4-FFF2-40B4-BE49-F238E27FC236}">
                <a16:creationId xmlns:a16="http://schemas.microsoft.com/office/drawing/2014/main" id="{5934225F-9FCC-6AE4-B971-BD49AE6586F2}"/>
              </a:ext>
            </a:extLst>
          </p:cNvPr>
          <p:cNvSpPr txBox="1"/>
          <p:nvPr/>
        </p:nvSpPr>
        <p:spPr>
          <a:xfrm>
            <a:off x="5922202" y="3756487"/>
            <a:ext cx="176330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GINX</a:t>
            </a:r>
          </a:p>
        </p:txBody>
      </p:sp>
      <p:cxnSp>
        <p:nvCxnSpPr>
          <p:cNvPr id="1148" name="肘形连接符 1147">
            <a:extLst>
              <a:ext uri="{FF2B5EF4-FFF2-40B4-BE49-F238E27FC236}">
                <a16:creationId xmlns:a16="http://schemas.microsoft.com/office/drawing/2014/main" id="{ABA16D4C-649D-1C1B-348A-568962CF66A0}"/>
              </a:ext>
            </a:extLst>
          </p:cNvPr>
          <p:cNvCxnSpPr>
            <a:cxnSpLocks/>
            <a:stCxn id="61" idx="2"/>
            <a:endCxn id="498" idx="0"/>
          </p:cNvCxnSpPr>
          <p:nvPr/>
        </p:nvCxnSpPr>
        <p:spPr>
          <a:xfrm rot="16200000" flipH="1">
            <a:off x="5145305" y="4314899"/>
            <a:ext cx="142468" cy="12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03E994DA-6DE5-2D83-193F-DD41D8252AB2}"/>
              </a:ext>
            </a:extLst>
          </p:cNvPr>
          <p:cNvCxnSpPr>
            <a:cxnSpLocks/>
            <a:stCxn id="194" idx="3"/>
            <a:endCxn id="1205" idx="0"/>
          </p:cNvCxnSpPr>
          <p:nvPr/>
        </p:nvCxnSpPr>
        <p:spPr>
          <a:xfrm flipV="1">
            <a:off x="3758056" y="5265669"/>
            <a:ext cx="1372287" cy="105676"/>
          </a:xfrm>
          <a:prstGeom prst="bentConnector4">
            <a:avLst>
              <a:gd name="adj1" fmla="val 13842"/>
              <a:gd name="adj2" fmla="val 173981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98" name="图片 497" descr="图标&#10;&#10;AI 生成的内容可能不正确。">
            <a:extLst>
              <a:ext uri="{FF2B5EF4-FFF2-40B4-BE49-F238E27FC236}">
                <a16:creationId xmlns:a16="http://schemas.microsoft.com/office/drawing/2014/main" id="{750D4C8C-11CA-1421-CDD5-893B00D69645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499" y="4386751"/>
            <a:ext cx="257316" cy="257316"/>
          </a:xfrm>
          <a:prstGeom prst="rect">
            <a:avLst/>
          </a:prstGeom>
        </p:spPr>
      </p:pic>
      <p:sp>
        <p:nvSpPr>
          <p:cNvPr id="231" name="文本框 230">
            <a:extLst>
              <a:ext uri="{FF2B5EF4-FFF2-40B4-BE49-F238E27FC236}">
                <a16:creationId xmlns:a16="http://schemas.microsoft.com/office/drawing/2014/main" id="{516770C8-CF33-9FF6-6A56-58501FAE72FF}"/>
              </a:ext>
            </a:extLst>
          </p:cNvPr>
          <p:cNvSpPr txBox="1"/>
          <p:nvPr/>
        </p:nvSpPr>
        <p:spPr>
          <a:xfrm>
            <a:off x="5005695" y="4665697"/>
            <a:ext cx="4738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GNIX (443)(Internal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xx.xx.xx</a:t>
            </a:r>
          </a:p>
        </p:txBody>
      </p: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C7E0B94B-2F7E-5B5A-A83D-1CA4B6FF1824}"/>
              </a:ext>
            </a:extLst>
          </p:cNvPr>
          <p:cNvCxnSpPr/>
          <p:nvPr/>
        </p:nvCxnSpPr>
        <p:spPr>
          <a:xfrm>
            <a:off x="7437903" y="3814925"/>
            <a:ext cx="0" cy="24091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7CFD41E2-CFAE-FE94-9259-C1C5CF60C9EC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04" name="文本框 503">
            <a:extLst>
              <a:ext uri="{FF2B5EF4-FFF2-40B4-BE49-F238E27FC236}">
                <a16:creationId xmlns:a16="http://schemas.microsoft.com/office/drawing/2014/main" id="{F05B0E1D-98D5-A1E1-8948-9D3CA84982BC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26" name="组合 1025">
            <a:extLst>
              <a:ext uri="{FF2B5EF4-FFF2-40B4-BE49-F238E27FC236}">
                <a16:creationId xmlns:a16="http://schemas.microsoft.com/office/drawing/2014/main" id="{CC68A055-61D7-D3DC-6C9C-72275957E0FF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1027" name="图形 1026">
              <a:extLst>
                <a:ext uri="{FF2B5EF4-FFF2-40B4-BE49-F238E27FC236}">
                  <a16:creationId xmlns:a16="http://schemas.microsoft.com/office/drawing/2014/main" id="{F79EE4DF-844B-698B-B419-27972C345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28" name="文本框 1027">
              <a:extLst>
                <a:ext uri="{FF2B5EF4-FFF2-40B4-BE49-F238E27FC236}">
                  <a16:creationId xmlns:a16="http://schemas.microsoft.com/office/drawing/2014/main" id="{08F7EE91-DABA-D667-DD48-E190C9369C58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029" name="直线箭头连接符 1028">
            <a:extLst>
              <a:ext uri="{FF2B5EF4-FFF2-40B4-BE49-F238E27FC236}">
                <a16:creationId xmlns:a16="http://schemas.microsoft.com/office/drawing/2014/main" id="{FEA32264-D79D-063B-D250-AC24B46F379E}"/>
              </a:ext>
            </a:extLst>
          </p:cNvPr>
          <p:cNvCxnSpPr>
            <a:cxnSpLocks/>
            <a:endCxn id="1027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1032" name="圆角矩形 1031">
            <a:extLst>
              <a:ext uri="{FF2B5EF4-FFF2-40B4-BE49-F238E27FC236}">
                <a16:creationId xmlns:a16="http://schemas.microsoft.com/office/drawing/2014/main" id="{2C3B2F12-EC0C-5B12-A057-AFF2B9EC3013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034" name="圆角矩形 1033">
            <a:extLst>
              <a:ext uri="{FF2B5EF4-FFF2-40B4-BE49-F238E27FC236}">
                <a16:creationId xmlns:a16="http://schemas.microsoft.com/office/drawing/2014/main" id="{6E796A76-03F0-E629-5DB2-0D283F72A387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037" name="文本框 1036">
            <a:extLst>
              <a:ext uri="{FF2B5EF4-FFF2-40B4-BE49-F238E27FC236}">
                <a16:creationId xmlns:a16="http://schemas.microsoft.com/office/drawing/2014/main" id="{4B30D341-8C8A-48E5-420C-58B6AB0F1335}"/>
              </a:ext>
            </a:extLst>
          </p:cNvPr>
          <p:cNvSpPr txBox="1"/>
          <p:nvPr/>
        </p:nvSpPr>
        <p:spPr>
          <a:xfrm>
            <a:off x="4679000" y="2285484"/>
            <a:ext cx="598986" cy="92333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43" name="文本框 1042">
            <a:extLst>
              <a:ext uri="{FF2B5EF4-FFF2-40B4-BE49-F238E27FC236}">
                <a16:creationId xmlns:a16="http://schemas.microsoft.com/office/drawing/2014/main" id="{78C38215-DB67-9871-DB8F-CF556A06B139}"/>
              </a:ext>
            </a:extLst>
          </p:cNvPr>
          <p:cNvSpPr txBox="1"/>
          <p:nvPr/>
        </p:nvSpPr>
        <p:spPr>
          <a:xfrm>
            <a:off x="4559848" y="219930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0.193.0/2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8" name="文本框 197">
            <a:extLst>
              <a:ext uri="{FF2B5EF4-FFF2-40B4-BE49-F238E27FC236}">
                <a16:creationId xmlns:a16="http://schemas.microsoft.com/office/drawing/2014/main" id="{C35C7720-B8D3-4EEB-849C-8E43E55CED55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9" name="组合 198">
            <a:extLst>
              <a:ext uri="{FF2B5EF4-FFF2-40B4-BE49-F238E27FC236}">
                <a16:creationId xmlns:a16="http://schemas.microsoft.com/office/drawing/2014/main" id="{BE0AA51D-1E18-5413-E057-0CE40520373B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200" name="图形 199" descr="女性形象 纯色填充">
              <a:extLst>
                <a:ext uri="{FF2B5EF4-FFF2-40B4-BE49-F238E27FC236}">
                  <a16:creationId xmlns:a16="http://schemas.microsoft.com/office/drawing/2014/main" id="{A535E7A5-7C5C-BA84-F00A-7BA8AA219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3" name="图形 202" descr="男性形象 纯色填充">
              <a:extLst>
                <a:ext uri="{FF2B5EF4-FFF2-40B4-BE49-F238E27FC236}">
                  <a16:creationId xmlns:a16="http://schemas.microsoft.com/office/drawing/2014/main" id="{0B767103-C688-3DF2-4997-9F87C96D8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5" name="文本框 204">
            <a:extLst>
              <a:ext uri="{FF2B5EF4-FFF2-40B4-BE49-F238E27FC236}">
                <a16:creationId xmlns:a16="http://schemas.microsoft.com/office/drawing/2014/main" id="{270EF79D-8ABD-E585-1788-DC139204F531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6" name="文本框 483">
            <a:extLst>
              <a:ext uri="{FF2B5EF4-FFF2-40B4-BE49-F238E27FC236}">
                <a16:creationId xmlns:a16="http://schemas.microsoft.com/office/drawing/2014/main" id="{C1298848-7FF3-2E33-AD15-3E6E6BA92BCA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33" name="组合 232">
            <a:extLst>
              <a:ext uri="{FF2B5EF4-FFF2-40B4-BE49-F238E27FC236}">
                <a16:creationId xmlns:a16="http://schemas.microsoft.com/office/drawing/2014/main" id="{8DAC73F5-861E-93D5-C769-7D943C328DD8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234" name="图形 485" descr="女性形象 纯色填充">
              <a:extLst>
                <a:ext uri="{FF2B5EF4-FFF2-40B4-BE49-F238E27FC236}">
                  <a16:creationId xmlns:a16="http://schemas.microsoft.com/office/drawing/2014/main" id="{8C34B56F-E19F-4AE5-8A33-2A7086C23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40" name="图形 486" descr="男性形象 纯色填充">
              <a:extLst>
                <a:ext uri="{FF2B5EF4-FFF2-40B4-BE49-F238E27FC236}">
                  <a16:creationId xmlns:a16="http://schemas.microsoft.com/office/drawing/2014/main" id="{26AF65FB-14B9-5745-1E59-FD2A8CE25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55" name="文本框 7">
            <a:extLst>
              <a:ext uri="{FF2B5EF4-FFF2-40B4-BE49-F238E27FC236}">
                <a16:creationId xmlns:a16="http://schemas.microsoft.com/office/drawing/2014/main" id="{11D56D8E-A5BC-B709-E413-38D0949B4AEF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03" name="文本框 1102">
            <a:extLst>
              <a:ext uri="{FF2B5EF4-FFF2-40B4-BE49-F238E27FC236}">
                <a16:creationId xmlns:a16="http://schemas.microsoft.com/office/drawing/2014/main" id="{FE64FCCD-41B2-2939-E72B-8770467434E1}"/>
              </a:ext>
            </a:extLst>
          </p:cNvPr>
          <p:cNvSpPr txBox="1"/>
          <p:nvPr/>
        </p:nvSpPr>
        <p:spPr>
          <a:xfrm>
            <a:off x="3384326" y="868677"/>
            <a:ext cx="11496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test2.fusioncore.dev.lz.aws.singtel.com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b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b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04" name="文本框 1103">
            <a:extLst>
              <a:ext uri="{FF2B5EF4-FFF2-40B4-BE49-F238E27FC236}">
                <a16:creationId xmlns:a16="http://schemas.microsoft.com/office/drawing/2014/main" id="{67B55E76-A72E-5733-B05F-536A3EBF1A1A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 api.uat1.test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203CC7A4-3084-0755-3EC8-0425B1C68BD6}"/>
              </a:ext>
            </a:extLst>
          </p:cNvPr>
          <p:cNvSpPr/>
          <p:nvPr/>
        </p:nvSpPr>
        <p:spPr>
          <a:xfrm>
            <a:off x="10638359" y="2585425"/>
            <a:ext cx="865499" cy="14537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D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5D532200-B7DA-307D-6757-68BB9CC4042E}"/>
              </a:ext>
            </a:extLst>
          </p:cNvPr>
          <p:cNvCxnSpPr>
            <a:cxnSpLocks/>
            <a:stCxn id="274" idx="3"/>
            <a:endCxn id="465" idx="1"/>
          </p:cNvCxnSpPr>
          <p:nvPr/>
        </p:nvCxnSpPr>
        <p:spPr>
          <a:xfrm>
            <a:off x="9981318" y="2137477"/>
            <a:ext cx="657041" cy="52063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61" name="文本框 1060">
            <a:extLst>
              <a:ext uri="{FF2B5EF4-FFF2-40B4-BE49-F238E27FC236}">
                <a16:creationId xmlns:a16="http://schemas.microsoft.com/office/drawing/2014/main" id="{7BDB9C0A-D16E-DBEF-6F7B-7AFEF5B83846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70" name="肘形连接符 1069">
            <a:extLst>
              <a:ext uri="{FF2B5EF4-FFF2-40B4-BE49-F238E27FC236}">
                <a16:creationId xmlns:a16="http://schemas.microsoft.com/office/drawing/2014/main" id="{8C11F3DA-F67E-D0DD-96B6-711731CD474E}"/>
              </a:ext>
            </a:extLst>
          </p:cNvPr>
          <p:cNvCxnSpPr>
            <a:cxnSpLocks/>
            <a:stCxn id="7" idx="2"/>
            <a:endCxn id="492" idx="1"/>
          </p:cNvCxnSpPr>
          <p:nvPr/>
        </p:nvCxnSpPr>
        <p:spPr>
          <a:xfrm>
            <a:off x="2314322" y="5546914"/>
            <a:ext cx="519326" cy="18958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1132" name="文本框 1131">
            <a:extLst>
              <a:ext uri="{FF2B5EF4-FFF2-40B4-BE49-F238E27FC236}">
                <a16:creationId xmlns:a16="http://schemas.microsoft.com/office/drawing/2014/main" id="{5E211BAD-10A0-A92C-8563-9988DCA0C52B}"/>
              </a:ext>
            </a:extLst>
          </p:cNvPr>
          <p:cNvSpPr txBox="1"/>
          <p:nvPr/>
        </p:nvSpPr>
        <p:spPr>
          <a:xfrm>
            <a:off x="4073114" y="3676972"/>
            <a:ext cx="10350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</a:t>
            </a: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599E4F0-AB3B-BC48-E39D-4C928D8B247B}"/>
              </a:ext>
            </a:extLst>
          </p:cNvPr>
          <p:cNvSpPr txBox="1"/>
          <p:nvPr/>
        </p:nvSpPr>
        <p:spPr>
          <a:xfrm>
            <a:off x="6677259" y="3693273"/>
            <a:ext cx="46321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20.61</a:t>
            </a:r>
            <a:endParaRPr kumimoji="0" lang="zh-SG" alt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61" name="组合 460">
            <a:extLst>
              <a:ext uri="{FF2B5EF4-FFF2-40B4-BE49-F238E27FC236}">
                <a16:creationId xmlns:a16="http://schemas.microsoft.com/office/drawing/2014/main" id="{85AC3949-21D5-1B8B-E6CF-D5D1B8607258}"/>
              </a:ext>
            </a:extLst>
          </p:cNvPr>
          <p:cNvGrpSpPr/>
          <p:nvPr/>
        </p:nvGrpSpPr>
        <p:grpSpPr>
          <a:xfrm>
            <a:off x="2826022" y="5626774"/>
            <a:ext cx="496363" cy="269875"/>
            <a:chOff x="3073881" y="4202802"/>
            <a:chExt cx="496363" cy="269875"/>
          </a:xfrm>
        </p:grpSpPr>
        <p:sp>
          <p:nvSpPr>
            <p:cNvPr id="489" name="矩形 488">
              <a:extLst>
                <a:ext uri="{FF2B5EF4-FFF2-40B4-BE49-F238E27FC236}">
                  <a16:creationId xmlns:a16="http://schemas.microsoft.com/office/drawing/2014/main" id="{7AA27A55-83EF-127A-5B61-6BECD313D980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92" name="图片 491">
              <a:extLst>
                <a:ext uri="{FF2B5EF4-FFF2-40B4-BE49-F238E27FC236}">
                  <a16:creationId xmlns:a16="http://schemas.microsoft.com/office/drawing/2014/main" id="{200B36C1-E9D9-439D-B412-C1477E6D5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1052" name="图片 1051">
              <a:extLst>
                <a:ext uri="{FF2B5EF4-FFF2-40B4-BE49-F238E27FC236}">
                  <a16:creationId xmlns:a16="http://schemas.microsoft.com/office/drawing/2014/main" id="{362E8592-69D4-FB21-A493-02C315BCD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1071" name="肘形连接符 1070">
              <a:extLst>
                <a:ext uri="{FF2B5EF4-FFF2-40B4-BE49-F238E27FC236}">
                  <a16:creationId xmlns:a16="http://schemas.microsoft.com/office/drawing/2014/main" id="{A1D7E708-71AA-E1A2-9AB9-6723EEEB2552}"/>
                </a:ext>
              </a:extLst>
            </p:cNvPr>
            <p:cNvCxnSpPr>
              <a:cxnSpLocks/>
              <a:stCxn id="492" idx="3"/>
              <a:endCxn id="1052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2" name="文本框 1071">
              <a:extLst>
                <a:ext uri="{FF2B5EF4-FFF2-40B4-BE49-F238E27FC236}">
                  <a16:creationId xmlns:a16="http://schemas.microsoft.com/office/drawing/2014/main" id="{9A1C051F-8D11-5E71-9866-73803F57EF40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194" name="图片 193">
            <a:extLst>
              <a:ext uri="{FF2B5EF4-FFF2-40B4-BE49-F238E27FC236}">
                <a16:creationId xmlns:a16="http://schemas.microsoft.com/office/drawing/2014/main" id="{4A08C268-2E8C-7F92-37C0-EC3D34B30C6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564817" y="5277745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文本框 194">
            <a:extLst>
              <a:ext uri="{FF2B5EF4-FFF2-40B4-BE49-F238E27FC236}">
                <a16:creationId xmlns:a16="http://schemas.microsoft.com/office/drawing/2014/main" id="{4513C608-76B0-6331-15B8-8D4007E98C4A}"/>
              </a:ext>
            </a:extLst>
          </p:cNvPr>
          <p:cNvSpPr txBox="1"/>
          <p:nvPr/>
        </p:nvSpPr>
        <p:spPr>
          <a:xfrm>
            <a:off x="3457895" y="5458931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test2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.dev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3F3B2F5A-376E-FABC-43A6-A5745F4020C9}"/>
              </a:ext>
            </a:extLst>
          </p:cNvPr>
          <p:cNvSpPr txBox="1"/>
          <p:nvPr/>
        </p:nvSpPr>
        <p:spPr>
          <a:xfrm>
            <a:off x="2962287" y="5926886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05" name="肘形连接符 1104">
            <a:extLst>
              <a:ext uri="{FF2B5EF4-FFF2-40B4-BE49-F238E27FC236}">
                <a16:creationId xmlns:a16="http://schemas.microsoft.com/office/drawing/2014/main" id="{CCC45EAB-ECBA-2617-94F6-405D81AA5141}"/>
              </a:ext>
            </a:extLst>
          </p:cNvPr>
          <p:cNvCxnSpPr>
            <a:cxnSpLocks/>
            <a:stCxn id="489" idx="3"/>
            <a:endCxn id="194" idx="1"/>
          </p:cNvCxnSpPr>
          <p:nvPr/>
        </p:nvCxnSpPr>
        <p:spPr>
          <a:xfrm flipV="1">
            <a:off x="3322385" y="5371345"/>
            <a:ext cx="242432" cy="390367"/>
          </a:xfrm>
          <a:prstGeom prst="bentConnector3">
            <a:avLst>
              <a:gd name="adj1" fmla="val 2877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171" name="组合 1170">
            <a:extLst>
              <a:ext uri="{FF2B5EF4-FFF2-40B4-BE49-F238E27FC236}">
                <a16:creationId xmlns:a16="http://schemas.microsoft.com/office/drawing/2014/main" id="{D91FE2C2-26A1-17B2-53AE-00B2C4C2F48B}"/>
              </a:ext>
            </a:extLst>
          </p:cNvPr>
          <p:cNvGrpSpPr/>
          <p:nvPr/>
        </p:nvGrpSpPr>
        <p:grpSpPr>
          <a:xfrm>
            <a:off x="4159729" y="5238115"/>
            <a:ext cx="2242961" cy="763102"/>
            <a:chOff x="3473638" y="5277871"/>
            <a:chExt cx="2242961" cy="763102"/>
          </a:xfrm>
        </p:grpSpPr>
        <p:sp>
          <p:nvSpPr>
            <p:cNvPr id="1172" name="矩形 1171">
              <a:extLst>
                <a:ext uri="{FF2B5EF4-FFF2-40B4-BE49-F238E27FC236}">
                  <a16:creationId xmlns:a16="http://schemas.microsoft.com/office/drawing/2014/main" id="{CE883B9E-1187-EB57-6CCD-F5323BE9082C}"/>
                </a:ext>
              </a:extLst>
            </p:cNvPr>
            <p:cNvSpPr/>
            <p:nvPr/>
          </p:nvSpPr>
          <p:spPr>
            <a:xfrm>
              <a:off x="3473638" y="5277871"/>
              <a:ext cx="2242961" cy="763102"/>
            </a:xfrm>
            <a:prstGeom prst="rect">
              <a:avLst/>
            </a:prstGeom>
            <a:solidFill>
              <a:srgbClr val="4DC7FF">
                <a:alpha val="30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173" name="矩形 1172">
              <a:extLst>
                <a:ext uri="{FF2B5EF4-FFF2-40B4-BE49-F238E27FC236}">
                  <a16:creationId xmlns:a16="http://schemas.microsoft.com/office/drawing/2014/main" id="{E7E8A880-68B6-A6F0-43DF-5D267C461685}"/>
                </a:ext>
              </a:extLst>
            </p:cNvPr>
            <p:cNvSpPr/>
            <p:nvPr/>
          </p:nvSpPr>
          <p:spPr>
            <a:xfrm>
              <a:off x="3509783" y="5301167"/>
              <a:ext cx="2156527" cy="624786"/>
            </a:xfrm>
            <a:prstGeom prst="rect">
              <a:avLst/>
            </a:prstGeom>
            <a:solidFill>
              <a:srgbClr val="316CE5">
                <a:alpha val="15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1174" name="图片 1173">
              <a:extLst>
                <a:ext uri="{FF2B5EF4-FFF2-40B4-BE49-F238E27FC236}">
                  <a16:creationId xmlns:a16="http://schemas.microsoft.com/office/drawing/2014/main" id="{7CE7F0B0-6F19-2271-9E9A-F6F9F36D9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777212" y="5319800"/>
              <a:ext cx="195044" cy="1889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75" name="图片 1174">
              <a:extLst>
                <a:ext uri="{FF2B5EF4-FFF2-40B4-BE49-F238E27FC236}">
                  <a16:creationId xmlns:a16="http://schemas.microsoft.com/office/drawing/2014/main" id="{CBA5EE09-8D77-8933-560C-C188E575D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116537" y="5319483"/>
              <a:ext cx="195044" cy="188949"/>
            </a:xfrm>
            <a:prstGeom prst="rect">
              <a:avLst/>
            </a:prstGeom>
          </p:spPr>
        </p:pic>
        <p:pic>
          <p:nvPicPr>
            <p:cNvPr id="1176" name="图片 1175">
              <a:extLst>
                <a:ext uri="{FF2B5EF4-FFF2-40B4-BE49-F238E27FC236}">
                  <a16:creationId xmlns:a16="http://schemas.microsoft.com/office/drawing/2014/main" id="{21FD4B71-0ADD-01A3-3243-CDC47AA24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429538" y="5320357"/>
              <a:ext cx="193240" cy="187200"/>
            </a:xfrm>
            <a:prstGeom prst="rect">
              <a:avLst/>
            </a:prstGeom>
          </p:spPr>
        </p:pic>
        <p:cxnSp>
          <p:nvCxnSpPr>
            <p:cNvPr id="1177" name="肘形连接符 1176">
              <a:extLst>
                <a:ext uri="{FF2B5EF4-FFF2-40B4-BE49-F238E27FC236}">
                  <a16:creationId xmlns:a16="http://schemas.microsoft.com/office/drawing/2014/main" id="{0674954D-06CE-A6A6-D134-049B36B518B8}"/>
                </a:ext>
              </a:extLst>
            </p:cNvPr>
            <p:cNvCxnSpPr>
              <a:cxnSpLocks/>
              <a:stCxn id="1174" idx="3"/>
              <a:endCxn id="1175" idx="1"/>
            </p:cNvCxnSpPr>
            <p:nvPr/>
          </p:nvCxnSpPr>
          <p:spPr>
            <a:xfrm flipV="1">
              <a:off x="4972256" y="5413958"/>
              <a:ext cx="144281" cy="317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9" name="肘形连接符 1178">
              <a:extLst>
                <a:ext uri="{FF2B5EF4-FFF2-40B4-BE49-F238E27FC236}">
                  <a16:creationId xmlns:a16="http://schemas.microsoft.com/office/drawing/2014/main" id="{557F657F-8F0A-0717-A483-F6F9FF875D14}"/>
                </a:ext>
              </a:extLst>
            </p:cNvPr>
            <p:cNvCxnSpPr>
              <a:cxnSpLocks/>
              <a:stCxn id="1175" idx="3"/>
              <a:endCxn id="1176" idx="1"/>
            </p:cNvCxnSpPr>
            <p:nvPr/>
          </p:nvCxnSpPr>
          <p:spPr>
            <a:xfrm flipV="1">
              <a:off x="5311581" y="541395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9" name="矩形 1188">
              <a:extLst>
                <a:ext uri="{FF2B5EF4-FFF2-40B4-BE49-F238E27FC236}">
                  <a16:creationId xmlns:a16="http://schemas.microsoft.com/office/drawing/2014/main" id="{27BB6750-1F2C-B0B2-5123-E88AAA329585}"/>
                </a:ext>
              </a:extLst>
            </p:cNvPr>
            <p:cNvSpPr/>
            <p:nvPr/>
          </p:nvSpPr>
          <p:spPr>
            <a:xfrm>
              <a:off x="5108911" y="5322367"/>
              <a:ext cx="523793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1190" name="图片 1189">
              <a:extLst>
                <a:ext uri="{FF2B5EF4-FFF2-40B4-BE49-F238E27FC236}">
                  <a16:creationId xmlns:a16="http://schemas.microsoft.com/office/drawing/2014/main" id="{3728F2AA-6883-1F44-E069-094F635F3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114193" y="5667493"/>
              <a:ext cx="195044" cy="188949"/>
            </a:xfrm>
            <a:prstGeom prst="rect">
              <a:avLst/>
            </a:prstGeom>
          </p:spPr>
        </p:pic>
        <p:pic>
          <p:nvPicPr>
            <p:cNvPr id="1191" name="图片 1190">
              <a:extLst>
                <a:ext uri="{FF2B5EF4-FFF2-40B4-BE49-F238E27FC236}">
                  <a16:creationId xmlns:a16="http://schemas.microsoft.com/office/drawing/2014/main" id="{C85658AD-2127-E3B4-52E8-F0321406E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427194" y="5668367"/>
              <a:ext cx="193240" cy="187200"/>
            </a:xfrm>
            <a:prstGeom prst="rect">
              <a:avLst/>
            </a:prstGeom>
          </p:spPr>
        </p:pic>
        <p:cxnSp>
          <p:nvCxnSpPr>
            <p:cNvPr id="1192" name="肘形连接符 1191">
              <a:extLst>
                <a:ext uri="{FF2B5EF4-FFF2-40B4-BE49-F238E27FC236}">
                  <a16:creationId xmlns:a16="http://schemas.microsoft.com/office/drawing/2014/main" id="{85041C87-2A2A-7B81-A738-B646F037C7DD}"/>
                </a:ext>
              </a:extLst>
            </p:cNvPr>
            <p:cNvCxnSpPr>
              <a:cxnSpLocks/>
              <a:stCxn id="1190" idx="3"/>
              <a:endCxn id="1191" idx="1"/>
            </p:cNvCxnSpPr>
            <p:nvPr/>
          </p:nvCxnSpPr>
          <p:spPr>
            <a:xfrm flipV="1">
              <a:off x="5309237" y="576196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3" name="矩形 1192">
              <a:extLst>
                <a:ext uri="{FF2B5EF4-FFF2-40B4-BE49-F238E27FC236}">
                  <a16:creationId xmlns:a16="http://schemas.microsoft.com/office/drawing/2014/main" id="{73D2BB1A-DDD0-6A40-6841-ED517BE826E3}"/>
                </a:ext>
              </a:extLst>
            </p:cNvPr>
            <p:cNvSpPr/>
            <p:nvPr/>
          </p:nvSpPr>
          <p:spPr>
            <a:xfrm>
              <a:off x="5106567" y="5670377"/>
              <a:ext cx="523793" cy="226271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195" name="肘形连接符 1194">
              <a:extLst>
                <a:ext uri="{FF2B5EF4-FFF2-40B4-BE49-F238E27FC236}">
                  <a16:creationId xmlns:a16="http://schemas.microsoft.com/office/drawing/2014/main" id="{2A700DBE-0724-7511-C269-19ABB8C521B1}"/>
                </a:ext>
              </a:extLst>
            </p:cNvPr>
            <p:cNvCxnSpPr>
              <a:cxnSpLocks/>
              <a:stCxn id="1174" idx="3"/>
              <a:endCxn id="1190" idx="1"/>
            </p:cNvCxnSpPr>
            <p:nvPr/>
          </p:nvCxnSpPr>
          <p:spPr>
            <a:xfrm>
              <a:off x="4972256" y="5414275"/>
              <a:ext cx="141937" cy="347693"/>
            </a:xfrm>
            <a:prstGeom prst="bentConnector3">
              <a:avLst>
                <a:gd name="adj1" fmla="val 34342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96" name="图片 1195">
              <a:extLst>
                <a:ext uri="{FF2B5EF4-FFF2-40B4-BE49-F238E27FC236}">
                  <a16:creationId xmlns:a16="http://schemas.microsoft.com/office/drawing/2014/main" id="{946BC61B-CC5D-8486-1D14-0EEE22E3C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543627" y="5320557"/>
              <a:ext cx="195044" cy="188949"/>
            </a:xfrm>
            <a:prstGeom prst="rect">
              <a:avLst/>
            </a:prstGeom>
          </p:spPr>
        </p:pic>
        <p:pic>
          <p:nvPicPr>
            <p:cNvPr id="1197" name="图片 1196">
              <a:extLst>
                <a:ext uri="{FF2B5EF4-FFF2-40B4-BE49-F238E27FC236}">
                  <a16:creationId xmlns:a16="http://schemas.microsoft.com/office/drawing/2014/main" id="{07B3F1F3-1606-76E6-1206-FE4365A88E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856628" y="5321431"/>
              <a:ext cx="193240" cy="187200"/>
            </a:xfrm>
            <a:prstGeom prst="rect">
              <a:avLst/>
            </a:prstGeom>
          </p:spPr>
        </p:pic>
        <p:cxnSp>
          <p:nvCxnSpPr>
            <p:cNvPr id="1198" name="肘形连接符 1197">
              <a:extLst>
                <a:ext uri="{FF2B5EF4-FFF2-40B4-BE49-F238E27FC236}">
                  <a16:creationId xmlns:a16="http://schemas.microsoft.com/office/drawing/2014/main" id="{BAA138B1-170C-47D2-11F9-4A4EB4605D01}"/>
                </a:ext>
              </a:extLst>
            </p:cNvPr>
            <p:cNvCxnSpPr>
              <a:cxnSpLocks/>
              <a:stCxn id="1196" idx="3"/>
              <a:endCxn id="1197" idx="1"/>
            </p:cNvCxnSpPr>
            <p:nvPr/>
          </p:nvCxnSpPr>
          <p:spPr>
            <a:xfrm flipV="1">
              <a:off x="3738671" y="5415031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9" name="矩形 1198">
              <a:extLst>
                <a:ext uri="{FF2B5EF4-FFF2-40B4-BE49-F238E27FC236}">
                  <a16:creationId xmlns:a16="http://schemas.microsoft.com/office/drawing/2014/main" id="{2946F99A-70EC-3DCB-5CD3-6CF1E790258E}"/>
                </a:ext>
              </a:extLst>
            </p:cNvPr>
            <p:cNvSpPr/>
            <p:nvPr/>
          </p:nvSpPr>
          <p:spPr>
            <a:xfrm>
              <a:off x="3536001" y="5323442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00" name="文本框 1199">
              <a:extLst>
                <a:ext uri="{FF2B5EF4-FFF2-40B4-BE49-F238E27FC236}">
                  <a16:creationId xmlns:a16="http://schemas.microsoft.com/office/drawing/2014/main" id="{30EEA7F0-2873-E7AA-3ED8-0FEC2593FA25}"/>
                </a:ext>
              </a:extLst>
            </p:cNvPr>
            <p:cNvSpPr txBox="1"/>
            <p:nvPr/>
          </p:nvSpPr>
          <p:spPr>
            <a:xfrm>
              <a:off x="3697020" y="546990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1201" name="图片 1200">
              <a:extLst>
                <a:ext uri="{FF2B5EF4-FFF2-40B4-BE49-F238E27FC236}">
                  <a16:creationId xmlns:a16="http://schemas.microsoft.com/office/drawing/2014/main" id="{C20D2820-00DD-871E-5588-A80E6D88D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547045" y="5667539"/>
              <a:ext cx="195044" cy="188949"/>
            </a:xfrm>
            <a:prstGeom prst="rect">
              <a:avLst/>
            </a:prstGeom>
          </p:spPr>
        </p:pic>
        <p:pic>
          <p:nvPicPr>
            <p:cNvPr id="1202" name="图片 1201">
              <a:extLst>
                <a:ext uri="{FF2B5EF4-FFF2-40B4-BE49-F238E27FC236}">
                  <a16:creationId xmlns:a16="http://schemas.microsoft.com/office/drawing/2014/main" id="{E8F6D997-3790-B692-0AF4-312B8BABE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860046" y="5668413"/>
              <a:ext cx="193240" cy="187200"/>
            </a:xfrm>
            <a:prstGeom prst="rect">
              <a:avLst/>
            </a:prstGeom>
          </p:spPr>
        </p:pic>
        <p:cxnSp>
          <p:nvCxnSpPr>
            <p:cNvPr id="1203" name="肘形连接符 1202">
              <a:extLst>
                <a:ext uri="{FF2B5EF4-FFF2-40B4-BE49-F238E27FC236}">
                  <a16:creationId xmlns:a16="http://schemas.microsoft.com/office/drawing/2014/main" id="{2571B8A6-D22A-E1EA-282A-45F9F1E0C98E}"/>
                </a:ext>
              </a:extLst>
            </p:cNvPr>
            <p:cNvCxnSpPr>
              <a:cxnSpLocks/>
              <a:stCxn id="1201" idx="3"/>
              <a:endCxn id="1202" idx="1"/>
            </p:cNvCxnSpPr>
            <p:nvPr/>
          </p:nvCxnSpPr>
          <p:spPr>
            <a:xfrm flipV="1">
              <a:off x="3742089" y="5762013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4" name="矩形 1203">
              <a:extLst>
                <a:ext uri="{FF2B5EF4-FFF2-40B4-BE49-F238E27FC236}">
                  <a16:creationId xmlns:a16="http://schemas.microsoft.com/office/drawing/2014/main" id="{1D684AB9-A011-CEAE-6505-2AD578C39014}"/>
                </a:ext>
              </a:extLst>
            </p:cNvPr>
            <p:cNvSpPr/>
            <p:nvPr/>
          </p:nvSpPr>
          <p:spPr>
            <a:xfrm>
              <a:off x="3539419" y="5670424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05" name="矩形 1204">
              <a:extLst>
                <a:ext uri="{FF2B5EF4-FFF2-40B4-BE49-F238E27FC236}">
                  <a16:creationId xmlns:a16="http://schemas.microsoft.com/office/drawing/2014/main" id="{1C3C39FB-9554-929E-9253-F690F05A26E8}"/>
                </a:ext>
              </a:extLst>
            </p:cNvPr>
            <p:cNvSpPr/>
            <p:nvPr/>
          </p:nvSpPr>
          <p:spPr>
            <a:xfrm>
              <a:off x="4196070" y="5305425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207" name="肘形连接符 1206">
              <a:extLst>
                <a:ext uri="{FF2B5EF4-FFF2-40B4-BE49-F238E27FC236}">
                  <a16:creationId xmlns:a16="http://schemas.microsoft.com/office/drawing/2014/main" id="{9CECFD0B-9369-C9FD-486E-49D7F6B807D1}"/>
                </a:ext>
              </a:extLst>
            </p:cNvPr>
            <p:cNvCxnSpPr>
              <a:cxnSpLocks/>
              <a:stCxn id="1197" idx="3"/>
              <a:endCxn id="1210" idx="1"/>
            </p:cNvCxnSpPr>
            <p:nvPr/>
          </p:nvCxnSpPr>
          <p:spPr>
            <a:xfrm>
              <a:off x="4049868" y="5415031"/>
              <a:ext cx="153828" cy="11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8" name="肘形连接符 1207">
              <a:extLst>
                <a:ext uri="{FF2B5EF4-FFF2-40B4-BE49-F238E27FC236}">
                  <a16:creationId xmlns:a16="http://schemas.microsoft.com/office/drawing/2014/main" id="{DE2679F0-D128-F7FA-6A77-91741920E355}"/>
                </a:ext>
              </a:extLst>
            </p:cNvPr>
            <p:cNvCxnSpPr>
              <a:cxnSpLocks/>
              <a:stCxn id="1202" idx="3"/>
              <a:endCxn id="1210" idx="1"/>
            </p:cNvCxnSpPr>
            <p:nvPr/>
          </p:nvCxnSpPr>
          <p:spPr>
            <a:xfrm flipV="1">
              <a:off x="4053286" y="5415150"/>
              <a:ext cx="150410" cy="346863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9" name="肘形连接符 1208">
              <a:extLst>
                <a:ext uri="{FF2B5EF4-FFF2-40B4-BE49-F238E27FC236}">
                  <a16:creationId xmlns:a16="http://schemas.microsoft.com/office/drawing/2014/main" id="{DDEAE520-1650-D081-377A-022DFC0B9823}"/>
                </a:ext>
              </a:extLst>
            </p:cNvPr>
            <p:cNvCxnSpPr>
              <a:cxnSpLocks/>
              <a:stCxn id="1211" idx="3"/>
              <a:endCxn id="1174" idx="1"/>
            </p:cNvCxnSpPr>
            <p:nvPr/>
          </p:nvCxnSpPr>
          <p:spPr>
            <a:xfrm flipV="1">
              <a:off x="4675012" y="5414275"/>
              <a:ext cx="102200" cy="874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10" name="图片 1209">
              <a:extLst>
                <a:ext uri="{FF2B5EF4-FFF2-40B4-BE49-F238E27FC236}">
                  <a16:creationId xmlns:a16="http://schemas.microsoft.com/office/drawing/2014/main" id="{0BD8A4CF-6934-1C9B-A431-AE706DC92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203696" y="5320675"/>
              <a:ext cx="195044" cy="188949"/>
            </a:xfrm>
            <a:prstGeom prst="rect">
              <a:avLst/>
            </a:prstGeom>
          </p:spPr>
        </p:pic>
        <p:pic>
          <p:nvPicPr>
            <p:cNvPr id="1211" name="图片 1210">
              <a:extLst>
                <a:ext uri="{FF2B5EF4-FFF2-40B4-BE49-F238E27FC236}">
                  <a16:creationId xmlns:a16="http://schemas.microsoft.com/office/drawing/2014/main" id="{09488F58-CB23-DE8C-8E48-AB3F8BD1B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481772" y="5321549"/>
              <a:ext cx="193240" cy="187200"/>
            </a:xfrm>
            <a:prstGeom prst="rect">
              <a:avLst/>
            </a:prstGeom>
          </p:spPr>
        </p:pic>
        <p:cxnSp>
          <p:nvCxnSpPr>
            <p:cNvPr id="1213" name="肘形连接符 1212">
              <a:extLst>
                <a:ext uri="{FF2B5EF4-FFF2-40B4-BE49-F238E27FC236}">
                  <a16:creationId xmlns:a16="http://schemas.microsoft.com/office/drawing/2014/main" id="{D3226018-9B67-74BE-EED5-E4AE64822384}"/>
                </a:ext>
              </a:extLst>
            </p:cNvPr>
            <p:cNvCxnSpPr>
              <a:cxnSpLocks/>
              <a:stCxn id="1210" idx="3"/>
              <a:endCxn id="1211" idx="1"/>
            </p:cNvCxnSpPr>
            <p:nvPr/>
          </p:nvCxnSpPr>
          <p:spPr>
            <a:xfrm flipV="1">
              <a:off x="4398740" y="5415149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4" name="文本框 1213">
              <a:extLst>
                <a:ext uri="{FF2B5EF4-FFF2-40B4-BE49-F238E27FC236}">
                  <a16:creationId xmlns:a16="http://schemas.microsoft.com/office/drawing/2014/main" id="{7ACADD68-AC4A-B489-66BA-2CEAAC295BE0}"/>
                </a:ext>
              </a:extLst>
            </p:cNvPr>
            <p:cNvSpPr txBox="1"/>
            <p:nvPr/>
          </p:nvSpPr>
          <p:spPr>
            <a:xfrm>
              <a:off x="4240380" y="5508749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215" name="文本框 1214">
              <a:extLst>
                <a:ext uri="{FF2B5EF4-FFF2-40B4-BE49-F238E27FC236}">
                  <a16:creationId xmlns:a16="http://schemas.microsoft.com/office/drawing/2014/main" id="{767B4185-8E95-FDA2-BC58-D7180DB952F7}"/>
                </a:ext>
              </a:extLst>
            </p:cNvPr>
            <p:cNvSpPr txBox="1"/>
            <p:nvPr/>
          </p:nvSpPr>
          <p:spPr>
            <a:xfrm>
              <a:off x="3697020" y="582483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1" name="文本框 320">
              <a:extLst>
                <a:ext uri="{FF2B5EF4-FFF2-40B4-BE49-F238E27FC236}">
                  <a16:creationId xmlns:a16="http://schemas.microsoft.com/office/drawing/2014/main" id="{CCA915AC-5C7B-7BBC-E96D-47358A934FD5}"/>
                </a:ext>
              </a:extLst>
            </p:cNvPr>
            <p:cNvSpPr txBox="1"/>
            <p:nvPr/>
          </p:nvSpPr>
          <p:spPr>
            <a:xfrm>
              <a:off x="5268645" y="547437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4" name="文本框 323">
              <a:extLst>
                <a:ext uri="{FF2B5EF4-FFF2-40B4-BE49-F238E27FC236}">
                  <a16:creationId xmlns:a16="http://schemas.microsoft.com/office/drawing/2014/main" id="{8450DBC7-7CCA-85A3-DE54-22653DF5D00D}"/>
                </a:ext>
              </a:extLst>
            </p:cNvPr>
            <p:cNvSpPr txBox="1"/>
            <p:nvPr/>
          </p:nvSpPr>
          <p:spPr>
            <a:xfrm>
              <a:off x="5271820" y="5835094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29" name="文本框 328">
            <a:extLst>
              <a:ext uri="{FF2B5EF4-FFF2-40B4-BE49-F238E27FC236}">
                <a16:creationId xmlns:a16="http://schemas.microsoft.com/office/drawing/2014/main" id="{F1A173C6-6CD1-4212-BAC9-DFD02C384FCC}"/>
              </a:ext>
            </a:extLst>
          </p:cNvPr>
          <p:cNvSpPr txBox="1"/>
          <p:nvPr/>
        </p:nvSpPr>
        <p:spPr>
          <a:xfrm>
            <a:off x="4738223" y="4900336"/>
            <a:ext cx="100397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1" name="文本框 330">
            <a:extLst>
              <a:ext uri="{FF2B5EF4-FFF2-40B4-BE49-F238E27FC236}">
                <a16:creationId xmlns:a16="http://schemas.microsoft.com/office/drawing/2014/main" id="{2FCBFFF4-8E28-408C-5A4D-3910DF45BCFD}"/>
              </a:ext>
            </a:extLst>
          </p:cNvPr>
          <p:cNvSpPr txBox="1"/>
          <p:nvPr/>
        </p:nvSpPr>
        <p:spPr>
          <a:xfrm>
            <a:off x="6819589" y="4912029"/>
            <a:ext cx="50724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</a:p>
          <a:p>
            <a:pPr algn="ctr">
              <a:defRPr/>
            </a:pPr>
            <a:r>
              <a:rPr kumimoji="1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mid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kumimoji="1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mid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5" name="文本框 334">
            <a:extLst>
              <a:ext uri="{FF2B5EF4-FFF2-40B4-BE49-F238E27FC236}">
                <a16:creationId xmlns:a16="http://schemas.microsoft.com/office/drawing/2014/main" id="{9DCD08C5-CDD5-F883-1DBD-B1BDB54C8165}"/>
              </a:ext>
            </a:extLst>
          </p:cNvPr>
          <p:cNvSpPr txBox="1"/>
          <p:nvPr/>
        </p:nvSpPr>
        <p:spPr>
          <a:xfrm>
            <a:off x="4659930" y="5896082"/>
            <a:ext cx="100397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5" name="Picture 6">
            <a:extLst>
              <a:ext uri="{FF2B5EF4-FFF2-40B4-BE49-F238E27FC236}">
                <a16:creationId xmlns:a16="http://schemas.microsoft.com/office/drawing/2014/main" id="{9764BAC6-6617-B08E-FEF9-CC27FF197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230" y="3627793"/>
            <a:ext cx="282696" cy="256996"/>
          </a:xfrm>
          <a:prstGeom prst="rect">
            <a:avLst/>
          </a:prstGeom>
          <a:solidFill>
            <a:srgbClr val="DEF4FF"/>
          </a:solidFill>
        </p:spPr>
      </p:pic>
      <p:sp>
        <p:nvSpPr>
          <p:cNvPr id="57" name="文本框 56">
            <a:extLst>
              <a:ext uri="{FF2B5EF4-FFF2-40B4-BE49-F238E27FC236}">
                <a16:creationId xmlns:a16="http://schemas.microsoft.com/office/drawing/2014/main" id="{60802DEC-B149-FC5A-136F-EC09EDBC5985}"/>
              </a:ext>
            </a:extLst>
          </p:cNvPr>
          <p:cNvSpPr txBox="1"/>
          <p:nvPr/>
        </p:nvSpPr>
        <p:spPr>
          <a:xfrm>
            <a:off x="2993593" y="3665139"/>
            <a:ext cx="3109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DEV Env)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60" name="图片 459">
            <a:extLst>
              <a:ext uri="{FF2B5EF4-FFF2-40B4-BE49-F238E27FC236}">
                <a16:creationId xmlns:a16="http://schemas.microsoft.com/office/drawing/2014/main" id="{E3374E85-34D0-1E79-8B8A-C9A0B320111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571167" y="5766708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文本框 465">
            <a:extLst>
              <a:ext uri="{FF2B5EF4-FFF2-40B4-BE49-F238E27FC236}">
                <a16:creationId xmlns:a16="http://schemas.microsoft.com/office/drawing/2014/main" id="{7E855507-5A88-0F33-C8A3-356ABC313B2B}"/>
              </a:ext>
            </a:extLst>
          </p:cNvPr>
          <p:cNvSpPr txBox="1"/>
          <p:nvPr/>
        </p:nvSpPr>
        <p:spPr>
          <a:xfrm>
            <a:off x="3460414" y="5967544"/>
            <a:ext cx="13570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test2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.dev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8B0170C5-0E57-2D7F-60D6-F6FE4A118395}"/>
              </a:ext>
            </a:extLst>
          </p:cNvPr>
          <p:cNvCxnSpPr>
            <a:cxnSpLocks/>
            <a:stCxn id="489" idx="3"/>
            <a:endCxn id="460" idx="1"/>
          </p:cNvCxnSpPr>
          <p:nvPr/>
        </p:nvCxnSpPr>
        <p:spPr>
          <a:xfrm>
            <a:off x="3322385" y="5761712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36887DE7-0A2E-6FB8-8286-8DDEB62CEA7A}"/>
              </a:ext>
            </a:extLst>
          </p:cNvPr>
          <p:cNvCxnSpPr>
            <a:cxnSpLocks/>
            <a:stCxn id="460" idx="3"/>
            <a:endCxn id="1205" idx="0"/>
          </p:cNvCxnSpPr>
          <p:nvPr/>
        </p:nvCxnSpPr>
        <p:spPr>
          <a:xfrm flipV="1">
            <a:off x="3764406" y="5265669"/>
            <a:ext cx="1365937" cy="594639"/>
          </a:xfrm>
          <a:prstGeom prst="bentConnector4">
            <a:avLst>
              <a:gd name="adj1" fmla="val 13384"/>
              <a:gd name="adj2" fmla="val 113147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61" name="图片 60">
            <a:extLst>
              <a:ext uri="{FF2B5EF4-FFF2-40B4-BE49-F238E27FC236}">
                <a16:creationId xmlns:a16="http://schemas.microsoft.com/office/drawing/2014/main" id="{BC20F8F5-828C-0A49-D88B-1C93366CE33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085006" y="3990636"/>
            <a:ext cx="261829" cy="253647"/>
          </a:xfrm>
          <a:prstGeom prst="rect">
            <a:avLst/>
          </a:prstGeom>
        </p:spPr>
      </p:pic>
      <p:cxnSp>
        <p:nvCxnSpPr>
          <p:cNvPr id="501" name="肘形连接符 500">
            <a:extLst>
              <a:ext uri="{FF2B5EF4-FFF2-40B4-BE49-F238E27FC236}">
                <a16:creationId xmlns:a16="http://schemas.microsoft.com/office/drawing/2014/main" id="{1A165086-8662-9945-B2AF-03D006EA22BB}"/>
              </a:ext>
            </a:extLst>
          </p:cNvPr>
          <p:cNvCxnSpPr>
            <a:cxnSpLocks/>
            <a:stCxn id="7" idx="2"/>
            <a:endCxn id="61" idx="0"/>
          </p:cNvCxnSpPr>
          <p:nvPr/>
        </p:nvCxnSpPr>
        <p:spPr>
          <a:xfrm flipV="1">
            <a:off x="2314322" y="3990636"/>
            <a:ext cx="2901599" cy="1556278"/>
          </a:xfrm>
          <a:prstGeom prst="bentConnector4">
            <a:avLst>
              <a:gd name="adj1" fmla="val 8932"/>
              <a:gd name="adj2" fmla="val 142448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38" name="图片 37">
            <a:extLst>
              <a:ext uri="{FF2B5EF4-FFF2-40B4-BE49-F238E27FC236}">
                <a16:creationId xmlns:a16="http://schemas.microsoft.com/office/drawing/2014/main" id="{4D9F46CB-ACF5-DAC3-5B35-AFD17BC4EF2F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663480" y="5476306"/>
            <a:ext cx="165805" cy="160624"/>
          </a:xfrm>
          <a:prstGeom prst="rect">
            <a:avLst/>
          </a:prstGeom>
        </p:spPr>
      </p:pic>
      <p:cxnSp>
        <p:nvCxnSpPr>
          <p:cNvPr id="50" name="肘形连接符 49">
            <a:extLst>
              <a:ext uri="{FF2B5EF4-FFF2-40B4-BE49-F238E27FC236}">
                <a16:creationId xmlns:a16="http://schemas.microsoft.com/office/drawing/2014/main" id="{FFEDF0D4-85BD-1477-3817-81F74B8080CB}"/>
              </a:ext>
            </a:extLst>
          </p:cNvPr>
          <p:cNvCxnSpPr>
            <a:cxnSpLocks/>
            <a:stCxn id="38" idx="1"/>
            <a:endCxn id="1173" idx="3"/>
          </p:cNvCxnSpPr>
          <p:nvPr/>
        </p:nvCxnSpPr>
        <p:spPr>
          <a:xfrm rot="10800000" flipV="1">
            <a:off x="6352402" y="5556618"/>
            <a:ext cx="311079" cy="1718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2" name="文本框 481">
            <a:extLst>
              <a:ext uri="{FF2B5EF4-FFF2-40B4-BE49-F238E27FC236}">
                <a16:creationId xmlns:a16="http://schemas.microsoft.com/office/drawing/2014/main" id="{B0A6A746-EC97-0FA3-2770-3970B2CBDA1E}"/>
              </a:ext>
            </a:extLst>
          </p:cNvPr>
          <p:cNvSpPr txBox="1"/>
          <p:nvPr/>
        </p:nvSpPr>
        <p:spPr>
          <a:xfrm>
            <a:off x="6361854" y="5586928"/>
            <a:ext cx="10760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8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fka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kafka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4574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8B945-6CBF-418E-2FAA-1BA67BBE14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B7D237C3-37C3-E9AF-BC20-62BD3DA774AC}"/>
              </a:ext>
            </a:extLst>
          </p:cNvPr>
          <p:cNvSpPr/>
          <p:nvPr/>
        </p:nvSpPr>
        <p:spPr>
          <a:xfrm rot="16200000">
            <a:off x="-291088" y="1414283"/>
            <a:ext cx="2214070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D64BCD0B-0967-F546-3B8F-F5D8059B2BBD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64CBE830-4AB6-2B17-77D7-FA9F184EFC37}"/>
              </a:ext>
            </a:extLst>
          </p:cNvPr>
          <p:cNvSpPr/>
          <p:nvPr/>
        </p:nvSpPr>
        <p:spPr>
          <a:xfrm>
            <a:off x="1559599" y="3527206"/>
            <a:ext cx="8687755" cy="3262764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kumimoji="1" lang="en-US" altLang="zh-SG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</a:t>
            </a:r>
            <a:r>
              <a:rPr kumimoji="1" lang="en-US" altLang="zh-CN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8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8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0C95B031-19CC-9553-75E7-E7EC021CD1AE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884D1558-5C4D-E1A2-815F-20EB792BB58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7E37F774-B48A-826A-2C49-5BB37839B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97CD5EF6-78F6-C1AF-A309-C1022D2F8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C8A90560-5681-D0DA-D8A3-6189E2482E71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2CA5E502-4D7F-4D36-502F-A1D3FBCC71E9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5922771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lang="en-US" altLang="zh-CN" sz="1500" dirty="0">
                <a:solidFill>
                  <a:srgbClr val="316CE5"/>
                </a:solidFill>
                <a:latin typeface="DIN Round Offc Pro"/>
                <a:cs typeface="Helvetica Neue"/>
              </a:rPr>
              <a:t>Non-Prod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D6CAEFB6-7688-9A43-DD6E-C532A9D95F41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F002B8A1-7600-6165-2257-9B92A7A95A6D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4CFC10FD-7DA3-1C2C-E2CE-42F3E48FD96E}"/>
              </a:ext>
            </a:extLst>
          </p:cNvPr>
          <p:cNvSpPr/>
          <p:nvPr/>
        </p:nvSpPr>
        <p:spPr>
          <a:xfrm>
            <a:off x="10639109" y="175021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FF7AB11-9275-E038-A5FB-279EDE0ACD94}"/>
              </a:ext>
            </a:extLst>
          </p:cNvPr>
          <p:cNvSpPr/>
          <p:nvPr/>
        </p:nvSpPr>
        <p:spPr>
          <a:xfrm>
            <a:off x="10639383" y="191056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</a:t>
            </a:r>
            <a:r>
              <a:rPr kumimoji="1" lang="en-US" altLang="zh-SG" sz="5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166ED060-79E6-3C2C-B0E1-EE192B642B88}"/>
              </a:ext>
            </a:extLst>
          </p:cNvPr>
          <p:cNvSpPr/>
          <p:nvPr/>
        </p:nvSpPr>
        <p:spPr>
          <a:xfrm>
            <a:off x="10635509" y="207447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9F7817AA-7C42-4249-57BF-6CC547154C49}"/>
              </a:ext>
            </a:extLst>
          </p:cNvPr>
          <p:cNvSpPr/>
          <p:nvPr/>
        </p:nvSpPr>
        <p:spPr>
          <a:xfrm>
            <a:off x="11683452" y="2054627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D4C4C0CE-2447-0B8B-C798-E94F96AAC758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37478"/>
            <a:ext cx="176743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B35A4C25-B3FE-947B-C1B6-3B33C76553B5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DAAE2871-A12A-477B-D048-9A086D6ECF93}"/>
              </a:ext>
            </a:extLst>
          </p:cNvPr>
          <p:cNvSpPr/>
          <p:nvPr/>
        </p:nvSpPr>
        <p:spPr>
          <a:xfrm>
            <a:off x="10636100" y="158986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EC007A4F-7B75-533E-FC4D-B9CFD5CA92BA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98CC1506-57E6-9FCF-3C19-047032A58906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491406E5-0827-9702-230C-AFA6BDA8EFC6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B03A7DFC-74BC-812E-A7FD-F2EEA90A0B1D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71AD9483-623E-F1F1-8D2E-662A69A850B7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7EDA13DE-E500-F1A4-6AA2-EB11B8D7AACE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01FF755D-9B0D-4BF4-BA01-D87FC17AFCCE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58B1709D-FCCD-EC27-B7E4-F022C2B522FD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9C469A60-10E1-9DA0-E3D4-931D59286903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02094CEF-D3D8-BEB1-7D59-34632CB85864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5881EC9A-ABCD-71A4-7437-9AF7F8DA241D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F31D18E8-FBA3-2327-A89B-775146CAC64E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219F8B51-B34E-B2A6-6D85-B97911DCB56D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6C6F1E09-C7B5-A26C-2DF4-F7E866B3C60E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F79D770D-23FC-65FD-87F7-B972F5C0D10E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598671DB-B3BA-9FF4-6B1D-04683C62AEBF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52861"/>
            <a:ext cx="654782" cy="4846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6C005F61-104A-31BF-009F-BE5839B276D7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13215"/>
            <a:ext cx="657791" cy="3242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64E86BE7-A6CA-0EDB-CAC8-C8072EC7C0BB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73569"/>
            <a:ext cx="658065" cy="16390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5187223E-25DB-7B16-E5F5-350AA3AC92B1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>
            <a:off x="9981319" y="2137478"/>
            <a:ext cx="654191" cy="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F4420429-480B-795F-D8F5-AA5C26D359B6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11EE8973-FFA5-AE6D-E9D4-BC1ECB6E9B04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C665AECF-DC0E-453F-B349-1CCCB8D8E5CD}"/>
              </a:ext>
            </a:extLst>
          </p:cNvPr>
          <p:cNvCxnSpPr>
            <a:cxnSpLocks/>
            <a:endCxn id="4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5CBE50AF-B71E-E384-ECE1-8444609C2451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0260AFAF-3200-4475-5F19-2EC9735F89F9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F768553D-B6F3-F151-D127-F9BADC6600F3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2E2A5D9C-1A21-0C78-A9B3-1DBEE67ED2EE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43AD8890-2D02-31B1-FA93-AD879B7DA4AB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D236D5AC-156D-5454-6718-478DF5C9D3BF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E3B3A759-489A-A73F-80EC-9629A720AF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A0C5EF2B-7CD4-2DFF-E97D-313CEF4D89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CB14A230-4A2E-18EE-639E-9037EAE870F7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25406E91-E9BD-7E5C-603A-1D4A46DF03BA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9C0666E4-EEF1-68A1-84F0-EF7017EE47EE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F7D5DEF2-3347-23AD-E031-FAB3B4B832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76ED0E4F-201E-CB73-8F7A-13CEEB18444B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CDF42F06-F971-AAA9-20C6-25B150D63167}"/>
              </a:ext>
            </a:extLst>
          </p:cNvPr>
          <p:cNvSpPr/>
          <p:nvPr/>
        </p:nvSpPr>
        <p:spPr>
          <a:xfrm>
            <a:off x="10636099" y="2235187"/>
            <a:ext cx="870020" cy="19904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762888CC-35D8-3297-00AC-698E6C6B0CB2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972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8B2CEE2E-E44D-86FF-22AE-C045AE504F5E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17A40B1A-077F-7E7A-2815-EE52C278FE96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84" name="矩形 383">
            <a:extLst>
              <a:ext uri="{FF2B5EF4-FFF2-40B4-BE49-F238E27FC236}">
                <a16:creationId xmlns:a16="http://schemas.microsoft.com/office/drawing/2014/main" id="{C918CEBD-ACC9-76F9-D5D6-2608789E3293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F2CDEABE-F75F-063B-36B2-8F2DE99C31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129B2693-A0C7-3327-285E-E0101D0DD638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957E610C-722E-C56E-BAE3-515C1AEE5189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FFDB560E-F965-9D8F-7AC3-A294CA2A9232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4066DB3F-018B-F055-F8E8-B565A7F1FE9D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41979536-8F3E-EBC6-FBBA-3D5E8E947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0F4AC262-EC26-EA0F-839E-F1A43A422730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5DD9D8BC-CF06-17FE-DDF4-AF0FC273E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27212EB7-3069-D86D-A121-C67C9359945B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93C9A1BF-FE12-5F64-F4A2-404E3B9847DA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FE9D390A-542D-C0E8-076C-3408380E53CA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FCF19753-8367-5283-3599-3511A6920ECD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B59E3026-97B2-3831-B7C7-311A8B7546A1}"/>
              </a:ext>
            </a:extLst>
          </p:cNvPr>
          <p:cNvGraphicFramePr>
            <a:graphicFrameLocks noGrp="1"/>
          </p:cNvGraphicFramePr>
          <p:nvPr/>
        </p:nvGraphicFramePr>
        <p:xfrm>
          <a:off x="10412079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5DD5D654-48AD-F81E-5E79-BE2896109EA1}"/>
              </a:ext>
            </a:extLst>
          </p:cNvPr>
          <p:cNvSpPr/>
          <p:nvPr/>
        </p:nvSpPr>
        <p:spPr>
          <a:xfrm>
            <a:off x="10507536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823948DF-B4D3-AA78-3372-740DBE2E5718}"/>
              </a:ext>
            </a:extLst>
          </p:cNvPr>
          <p:cNvSpPr/>
          <p:nvPr/>
        </p:nvSpPr>
        <p:spPr>
          <a:xfrm>
            <a:off x="10507536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BFDE9B3F-880B-19B2-DDCF-487A8BA624D6}"/>
              </a:ext>
            </a:extLst>
          </p:cNvPr>
          <p:cNvSpPr/>
          <p:nvPr/>
        </p:nvSpPr>
        <p:spPr>
          <a:xfrm>
            <a:off x="10507536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5CBE72F4-875E-BF95-0203-C46B5AD4B49E}"/>
              </a:ext>
            </a:extLst>
          </p:cNvPr>
          <p:cNvCxnSpPr>
            <a:cxnSpLocks/>
          </p:cNvCxnSpPr>
          <p:nvPr/>
        </p:nvCxnSpPr>
        <p:spPr>
          <a:xfrm>
            <a:off x="10507536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13B6A148-9E22-1338-C81C-48464FE57E0B}"/>
              </a:ext>
            </a:extLst>
          </p:cNvPr>
          <p:cNvCxnSpPr>
            <a:cxnSpLocks/>
          </p:cNvCxnSpPr>
          <p:nvPr/>
        </p:nvCxnSpPr>
        <p:spPr>
          <a:xfrm>
            <a:off x="10507536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7BDF15E5-CE6E-6B7B-D611-83921C6F3FE7}"/>
              </a:ext>
            </a:extLst>
          </p:cNvPr>
          <p:cNvCxnSpPr>
            <a:cxnSpLocks/>
          </p:cNvCxnSpPr>
          <p:nvPr/>
        </p:nvCxnSpPr>
        <p:spPr>
          <a:xfrm>
            <a:off x="10507536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0A3E0320-EB60-484F-B837-61B296F753A9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A95ACDA8-DE94-D659-1B72-4288975BDC80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1E47CCAE-D761-7B3B-031B-128D175FE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13B50062-4DCB-ADBE-1762-9175D032E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0D784630-3C46-6FDF-432B-6F03E1F3C602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8FF1E9C6-36E6-2A6F-C178-C8434585E072}"/>
              </a:ext>
            </a:extLst>
          </p:cNvPr>
          <p:cNvCxnSpPr>
            <a:cxnSpLocks/>
            <a:stCxn id="309" idx="2"/>
            <a:endCxn id="363" idx="0"/>
          </p:cNvCxnSpPr>
          <p:nvPr/>
        </p:nvCxnSpPr>
        <p:spPr>
          <a:xfrm rot="5400000">
            <a:off x="2796898" y="2967876"/>
            <a:ext cx="981298" cy="1410570"/>
          </a:xfrm>
          <a:prstGeom prst="bentConnector3">
            <a:avLst>
              <a:gd name="adj1" fmla="val 12242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EDE75497-9105-D566-277C-B3D2B87AD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1707263" y="5203837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FE2B29-343F-17D0-D241-393E80B9F878}"/>
              </a:ext>
            </a:extLst>
          </p:cNvPr>
          <p:cNvSpPr txBox="1"/>
          <p:nvPr/>
        </p:nvSpPr>
        <p:spPr>
          <a:xfrm>
            <a:off x="1381571" y="5522953"/>
            <a:ext cx="1072409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0.165</a:t>
            </a: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bss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b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idms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nonprod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F388970D-3711-3D1C-3E47-5E0D175F00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B0A26B69-B0AD-AC3D-0E6C-1745ADE42526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9A00FF29-E770-15A4-4447-459A76835C53}"/>
              </a:ext>
            </a:extLst>
          </p:cNvPr>
          <p:cNvCxnSpPr>
            <a:cxnSpLocks/>
            <a:stCxn id="1545" idx="0"/>
            <a:endCxn id="30" idx="2"/>
          </p:cNvCxnSpPr>
          <p:nvPr/>
        </p:nvCxnSpPr>
        <p:spPr>
          <a:xfrm rot="5400000" flipH="1" flipV="1">
            <a:off x="7693772" y="2327546"/>
            <a:ext cx="919457" cy="1654420"/>
          </a:xfrm>
          <a:prstGeom prst="bentConnector3">
            <a:avLst>
              <a:gd name="adj1" fmla="val 19526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660CE8B5-05D7-4B3C-4FC2-74DAA90036F7}"/>
              </a:ext>
            </a:extLst>
          </p:cNvPr>
          <p:cNvSpPr/>
          <p:nvPr/>
        </p:nvSpPr>
        <p:spPr>
          <a:xfrm>
            <a:off x="2689158" y="6629749"/>
            <a:ext cx="6939395" cy="11933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algn="ctr" defTabSz="914400"/>
            <a:r>
              <a:rPr kumimoji="1" lang="en-US" altLang="zh-SG" sz="6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kern="0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45B90DD-8049-F3D2-3AB8-6793C5265323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uat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0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A967855-6696-CFF6-8B74-FC1FF7E2810F}"/>
              </a:ext>
            </a:extLst>
          </p:cNvPr>
          <p:cNvSpPr txBox="1"/>
          <p:nvPr/>
        </p:nvSpPr>
        <p:spPr>
          <a:xfrm>
            <a:off x="8773964" y="2279529"/>
            <a:ext cx="413492" cy="415498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71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4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03054ECE-94E7-BD79-AC17-10B47676398B}"/>
              </a:ext>
            </a:extLst>
          </p:cNvPr>
          <p:cNvSpPr txBox="1"/>
          <p:nvPr/>
        </p:nvSpPr>
        <p:spPr>
          <a:xfrm>
            <a:off x="8357258" y="2281028"/>
            <a:ext cx="413492" cy="413999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7.3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E9B54BF5-AEB2-5B6D-4106-38D355399618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0044DA50-EFCF-80AA-313F-C86A5359A350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6C668C6E-99E8-C287-2C98-B3A16DAD70A0}"/>
              </a:ext>
            </a:extLst>
          </p:cNvPr>
          <p:cNvCxnSpPr>
            <a:cxnSpLocks/>
            <a:stCxn id="47" idx="2"/>
            <a:endCxn id="329" idx="0"/>
          </p:cNvCxnSpPr>
          <p:nvPr/>
        </p:nvCxnSpPr>
        <p:spPr>
          <a:xfrm rot="5400000">
            <a:off x="5303072" y="308187"/>
            <a:ext cx="874092" cy="5647773"/>
          </a:xfrm>
          <a:prstGeom prst="bentConnector3">
            <a:avLst>
              <a:gd name="adj1" fmla="val 60889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2433E7F1-8FF6-4AE7-5A1B-5AF91987A83D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58EBE007-A610-D135-C0AB-71EA68931DF4}"/>
              </a:ext>
            </a:extLst>
          </p:cNvPr>
          <p:cNvCxnSpPr>
            <a:cxnSpLocks/>
          </p:cNvCxnSpPr>
          <p:nvPr/>
        </p:nvCxnSpPr>
        <p:spPr>
          <a:xfrm>
            <a:off x="10508491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肘形连接符 49">
            <a:extLst>
              <a:ext uri="{FF2B5EF4-FFF2-40B4-BE49-F238E27FC236}">
                <a16:creationId xmlns:a16="http://schemas.microsoft.com/office/drawing/2014/main" id="{74590C8C-F1CC-D5E8-662E-298C87B4EB9B}"/>
              </a:ext>
            </a:extLst>
          </p:cNvPr>
          <p:cNvCxnSpPr>
            <a:cxnSpLocks/>
            <a:stCxn id="7" idx="2"/>
            <a:endCxn id="363" idx="1"/>
          </p:cNvCxnSpPr>
          <p:nvPr/>
        </p:nvCxnSpPr>
        <p:spPr>
          <a:xfrm flipV="1">
            <a:off x="1996510" y="4276969"/>
            <a:ext cx="468943" cy="10714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8AA743BE-CB8B-6454-205D-A7195B32FEFD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4756EC06-CE3F-FDA3-3BEE-872C9A1A52A8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24515F5A-2269-4CB3-9C95-E8BF8D5E9482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B1969113-BFE5-EFFE-B93C-0F3B8A8E9808}"/>
              </a:ext>
            </a:extLst>
          </p:cNvPr>
          <p:cNvCxnSpPr>
            <a:cxnSpLocks/>
            <a:stCxn id="348" idx="2"/>
            <a:endCxn id="7" idx="0"/>
          </p:cNvCxnSpPr>
          <p:nvPr/>
        </p:nvCxnSpPr>
        <p:spPr>
          <a:xfrm flipV="1">
            <a:off x="1354608" y="5348460"/>
            <a:ext cx="352655" cy="20518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379D16A8-31AD-C710-D6DF-CB052BFA4338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17575B3D-68F6-3D84-26C0-631274ADA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4866307A-8A65-CD28-6C48-63DCE189254E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1030A715-ECFA-CE61-617B-24FFFA11F052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FE978C0F-7995-C369-AE39-5E4EB3651C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521F015A-7026-ADC2-DF99-39EE066CE07F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BEB5D0C4-62FF-BD79-80F9-F21EAAF8223E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04DB7BF7-ED99-4F12-42EA-5B319E15F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C64E0D1C-69F5-FF2A-BB7A-CC1291C4965D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5499064D-4F67-3A44-82F5-D6112F492027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31E81F43-E1AA-D5B3-439F-04EDA8713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7D142359-60F4-6719-7654-49373A5A6AB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CD498DDC-EEA2-B18D-9B99-78C53A92664E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C23A0EE8-5B5E-5952-9292-DA7ABBA9E5D3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688C39D8-BD4E-4795-8C21-8073580E03A0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642AF071-8E01-3815-B535-9320C473BA6B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3E80C89D-BA8C-FBEE-470E-920504F9519D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0D2CF22A-E391-6A13-D362-66E29AA08E81}"/>
              </a:ext>
            </a:extLst>
          </p:cNvPr>
          <p:cNvSpPr/>
          <p:nvPr/>
        </p:nvSpPr>
        <p:spPr>
          <a:xfrm>
            <a:off x="10469599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061622E2-0E9C-84A1-714D-32FB16059E8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477225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6B44600B-6C73-667A-73B4-92476922E3C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755301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D2A8F7B7-1F89-EB56-B1E8-40CDDF452CB3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672269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3EB1263B-BAA5-BB9A-69D3-5DA92FB2128F}"/>
              </a:ext>
            </a:extLst>
          </p:cNvPr>
          <p:cNvSpPr txBox="1"/>
          <p:nvPr/>
        </p:nvSpPr>
        <p:spPr>
          <a:xfrm>
            <a:off x="10513909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FDC9F566-9439-EA71-28DF-D691F3D61034}"/>
              </a:ext>
            </a:extLst>
          </p:cNvPr>
          <p:cNvCxnSpPr>
            <a:cxnSpLocks/>
            <a:stCxn id="7" idx="2"/>
            <a:endCxn id="418" idx="0"/>
          </p:cNvCxnSpPr>
          <p:nvPr/>
        </p:nvCxnSpPr>
        <p:spPr>
          <a:xfrm>
            <a:off x="1996510" y="5348460"/>
            <a:ext cx="231135" cy="736209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BB865012-FF38-28EC-B326-5ECF28E27C9E}"/>
              </a:ext>
            </a:extLst>
          </p:cNvPr>
          <p:cNvCxnSpPr>
            <a:cxnSpLocks/>
          </p:cNvCxnSpPr>
          <p:nvPr/>
        </p:nvCxnSpPr>
        <p:spPr>
          <a:xfrm>
            <a:off x="10513560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F13AA992-03C1-EDC0-2A67-42A89B5AB464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F3368E2E-6104-860F-FC17-60D7ADE20214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0A181FA-8754-2DF2-25CD-8AD5B8AA54FD}"/>
              </a:ext>
            </a:extLst>
          </p:cNvPr>
          <p:cNvSpPr/>
          <p:nvPr/>
        </p:nvSpPr>
        <p:spPr>
          <a:xfrm>
            <a:off x="10638360" y="2499642"/>
            <a:ext cx="865499" cy="251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669110AA-A2F8-8DA2-9BA8-00C3F4A5FCBE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4881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8E17E180-C9B8-5332-2D27-8B22F758F390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70AC148D-CC6C-654A-BF61-7124AA2D4A9B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B4B2045B-10D2-F3E3-16AF-B8ECA3456AA0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8A32E13C-424A-A436-ED0A-AD81A6FFF674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843894A3-DCB0-8AA6-7E25-E4766960B5D2}"/>
              </a:ext>
            </a:extLst>
          </p:cNvPr>
          <p:cNvCxnSpPr>
            <a:cxnSpLocks/>
          </p:cNvCxnSpPr>
          <p:nvPr/>
        </p:nvCxnSpPr>
        <p:spPr>
          <a:xfrm>
            <a:off x="10514422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FFF89A78-7795-3FC8-13C9-7862926500BA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3206417B-CD9E-5D4F-CEDF-486EF8C582BC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42D2831D-6A2B-B11E-E435-68A721BFE0C7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EDACEBE9-E69D-5F8B-80CE-F27259C847F8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833A04C9-F56E-6946-C548-D82E5DCEC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2AA14A74-5DAF-C17E-A2DD-FD75D205F9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FAB7624A-6D96-66A9-8953-3EB611C01C00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54A21D46-47E9-A10E-308D-EC7CC44DBF2B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8EA1B9B3-D05B-A8DE-7BD7-BE4E80BF0E0D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61823457-0BFF-F651-3B59-8D7BC2D96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B4106E82-C5F5-3F10-A7EB-299618CC7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FD970CD0-0F8E-20E5-91A3-AE1511886422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25042EA3-66C1-D9B1-650B-63DCF5E36AA3}"/>
              </a:ext>
            </a:extLst>
          </p:cNvPr>
          <p:cNvSpPr/>
          <p:nvPr/>
        </p:nvSpPr>
        <p:spPr>
          <a:xfrm>
            <a:off x="9830488" y="4813322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17846A4F-9DBA-656A-4B55-1860A788561B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DD75F9D-C87A-B8E2-5DAD-58F7DBAE575A}"/>
              </a:ext>
            </a:extLst>
          </p:cNvPr>
          <p:cNvGrpSpPr/>
          <p:nvPr/>
        </p:nvGrpSpPr>
        <p:grpSpPr>
          <a:xfrm>
            <a:off x="3961407" y="1622220"/>
            <a:ext cx="1485516" cy="763102"/>
            <a:chOff x="4078804" y="1622220"/>
            <a:chExt cx="1485516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784B4E65-4BED-559C-7C06-1D325F116DE8}"/>
                </a:ext>
              </a:extLst>
            </p:cNvPr>
            <p:cNvGrpSpPr/>
            <p:nvPr/>
          </p:nvGrpSpPr>
          <p:grpSpPr>
            <a:xfrm>
              <a:off x="4078804" y="1622220"/>
              <a:ext cx="1485516" cy="763102"/>
              <a:chOff x="4263653" y="5430271"/>
              <a:chExt cx="1485516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509DC938-8370-01EC-25A9-24B031268F11}"/>
                  </a:ext>
                </a:extLst>
              </p:cNvPr>
              <p:cNvSpPr/>
              <p:nvPr/>
            </p:nvSpPr>
            <p:spPr>
              <a:xfrm>
                <a:off x="4807680" y="5430271"/>
                <a:ext cx="941489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3B5C61D3-8E83-052E-256F-48F1A7E029CA}"/>
                  </a:ext>
                </a:extLst>
              </p:cNvPr>
              <p:cNvSpPr/>
              <p:nvPr/>
            </p:nvSpPr>
            <p:spPr>
              <a:xfrm>
                <a:off x="4838574" y="5453567"/>
                <a:ext cx="867056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8CB06D67-3AD2-97C0-F458-9B75D0C60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8EF4FBA0-232B-C288-602E-916F474250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710AA939-0B49-62CD-7343-79CAEEF338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E0C69ADD-5DF5-499B-E26E-F431C8268E35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B048DE09-D365-4D86-C30F-F3D5FD6A620A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2" name="文本框 1161">
                <a:extLst>
                  <a:ext uri="{FF2B5EF4-FFF2-40B4-BE49-F238E27FC236}">
                    <a16:creationId xmlns:a16="http://schemas.microsoft.com/office/drawing/2014/main" id="{7022CF39-C21F-71D1-7C5D-D31A9B49DC2B}"/>
                  </a:ext>
                </a:extLst>
              </p:cNvPr>
              <p:cNvSpPr txBox="1"/>
              <p:nvPr/>
            </p:nvSpPr>
            <p:spPr>
              <a:xfrm>
                <a:off x="4981246" y="6093535"/>
                <a:ext cx="598986" cy="92333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Namespace: </a:t>
                </a:r>
                <a:r>
                  <a:rPr kumimoji="1" lang="en-US" altLang="zh-SG" sz="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Debp</a:t>
                </a:r>
                <a:endParaRPr kumimoji="1" lang="zh-SG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F2B65D37-2591-7727-1C66-5841FF144EFD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0AFB2780-AF21-59C3-9EFC-5DFD01254A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4A7AEAB3-9E5E-7642-B26E-6900FE4F32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829B0420-6B54-E29D-E6B4-6A10CB24C0AE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A7A61A3D-6595-DE29-E1E8-56B8A9229532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EF9966BC-987D-B3C9-F637-1D7B7151153F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6891C341-698A-2D6C-E2C9-CEF60C1ACF04}"/>
                  </a:ext>
                </a:extLst>
              </p:cNvPr>
              <p:cNvSpPr/>
              <p:nvPr/>
            </p:nvSpPr>
            <p:spPr>
              <a:xfrm>
                <a:off x="4263653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A4535F03-7251-CE11-F5C9-5ABE74CCF900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8945" y="5734950"/>
                <a:ext cx="117026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9BA49E60-26D0-7763-E666-C6CE181E89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7629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0DAF050C-DF62-1BC7-5A32-4609C83AAA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5705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89E981A1-9129-6AAE-C08B-D4724F2DAD37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72673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D368DD0E-A820-FC5F-8F73-40FFA2D1B419}"/>
                  </a:ext>
                </a:extLst>
              </p:cNvPr>
              <p:cNvSpPr txBox="1"/>
              <p:nvPr/>
            </p:nvSpPr>
            <p:spPr>
              <a:xfrm>
                <a:off x="4328028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00D9BD2C-5E81-4F1E-AB4D-910B3FE65588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BCCD5345-B011-B2A5-B291-6ABA479BBF57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29DBE3CB-C3F4-728C-40A7-05A3756311AF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8428D979-F5F9-A9F3-16E2-0F919A97C992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VPN 34414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5171CC1-AA30-9D70-A54A-34CFEA3E6EA8}"/>
              </a:ext>
            </a:extLst>
          </p:cNvPr>
          <p:cNvSpPr txBox="1"/>
          <p:nvPr/>
        </p:nvSpPr>
        <p:spPr>
          <a:xfrm>
            <a:off x="2233294" y="2251783"/>
            <a:ext cx="84878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5" tooltip="https://proxy-dev-fusioncore-singtel-git-awslz-dmz.sin.dmz.dev.aws.singtel.com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xy-nonprod-fusioncore-singtel-git-awslz-dmz.sin.dmz.nonprod.aws.singtel.com/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370AABA9-CB8C-79CA-CE51-69B13441ACFD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6CC9097-4F37-E29E-BF08-CB5D44C360E2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44AEA1FE-D780-5FA2-3DEB-15AB7B98F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DD0FDE50-5CD9-FB62-BE70-C55B1D9AAC9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30B5A3D1-5E38-3AA2-F998-18E744061C38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31B2D05F-BDD9-2BCE-1D65-B51F71F8F37E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092F6D88-34FE-E874-D102-D190606BF019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BDF0C019-DA26-DD32-74DC-57FE9933E406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82A8FDB7-40CB-AB20-48B7-9E17427A98C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4A3FA1E4-D64D-44F5-1C3E-DDE4F538FDC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7D437AFF-83B4-6D5F-0E9A-A140A1526D4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8ED995FB-CC3C-9437-7E7B-2ED01A14E1F4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32E194C7-5EE2-612A-7661-96EE43BE495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E573A631-4122-256E-45F2-3DA1B3C0E17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037A2F5C-799A-2482-55D1-D8BF09BEAF1B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791B834A-087E-5540-A14D-1C795E1563E2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E867C39C-48A7-7707-8942-D6D7731E58D0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E63B74CE-3EDD-770E-2FB1-CE0C56A961E2}"/>
              </a:ext>
            </a:extLst>
          </p:cNvPr>
          <p:cNvSpPr/>
          <p:nvPr/>
        </p:nvSpPr>
        <p:spPr>
          <a:xfrm rot="16200000">
            <a:off x="-542563" y="489244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59" name="文本框 358">
            <a:extLst>
              <a:ext uri="{FF2B5EF4-FFF2-40B4-BE49-F238E27FC236}">
                <a16:creationId xmlns:a16="http://schemas.microsoft.com/office/drawing/2014/main" id="{A00A06A8-FCA9-CB82-D39B-B2FF5B583831}"/>
              </a:ext>
            </a:extLst>
          </p:cNvPr>
          <p:cNvSpPr txBox="1"/>
          <p:nvPr/>
        </p:nvSpPr>
        <p:spPr>
          <a:xfrm>
            <a:off x="3571123" y="2142854"/>
            <a:ext cx="28926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bit-fusioncore-pt.fusioncore.dev.lz.aws.sg.singtelgroup.net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0B47873E-982F-3129-7778-C3B458D2E11B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2F54DB76-DFB4-398C-5DF3-CD2D3573C67A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75A26594-1BDC-3398-7992-8BEB092326B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DE07F5F0-B9A8-CB32-FD94-1EA94D0447B0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CBA275-AA26-5D4A-6E53-D2C7DA43F6B5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N</a:t>
            </a: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9B41DFDE-49FD-9AF0-E93C-7BF055ACDA7A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C0149466-244E-C207-0AB3-8901BBC60B15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EEA4FC36-27C0-E0AC-AF68-E9A78A19A4C4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D7C6CF6C-83AC-FCCC-F893-0E35F04082BE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0BAE9693-AEE3-FA49-A53F-DB5064022687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ED1E1575-FFEA-F066-4882-57D03DF55E4E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3B88F580-C09C-5136-C668-7AB3D5289F73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1958E11D-7E76-1FC9-6BCD-FCF869191613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CA6F0226-7315-C3F6-8B04-C3049E230406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F3F6D862-12D9-0711-ECEA-E0454B25E1AE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39072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3" name="文本框 462">
            <a:extLst>
              <a:ext uri="{FF2B5EF4-FFF2-40B4-BE49-F238E27FC236}">
                <a16:creationId xmlns:a16="http://schemas.microsoft.com/office/drawing/2014/main" id="{B80087F0-FC4D-08BF-86C2-7B6E7A26ADFB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084D13D3-3735-331B-F8D6-E4A2F6C16C00}"/>
              </a:ext>
            </a:extLst>
          </p:cNvPr>
          <p:cNvSpPr txBox="1"/>
          <p:nvPr/>
        </p:nvSpPr>
        <p:spPr>
          <a:xfrm>
            <a:off x="5889619" y="2806534"/>
            <a:ext cx="1033575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t.gw.pnd.nonprod.aws.sg.singtelgroup.net</a:t>
            </a:r>
            <a:endParaRPr lang="zh-SG" altLang="en-US" sz="4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B7CF06E-3F48-9C14-E735-00BB5C604598}"/>
              </a:ext>
            </a:extLst>
          </p:cNvPr>
          <p:cNvSpPr txBox="1"/>
          <p:nvPr/>
        </p:nvSpPr>
        <p:spPr>
          <a:xfrm>
            <a:off x="4561595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t.gw.apigw.nonprod.lz.aws.sg.singtelgroup.net</a:t>
            </a:r>
            <a:endParaRPr lang="zh-SG" altLang="en-US" sz="4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92A8E8D0-B7BF-E297-8035-7C579908208D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api.uat3.test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B8B2B4A1-C42F-AD3B-AD64-8C82035BB5BF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92" name="文本框 491">
            <a:extLst>
              <a:ext uri="{FF2B5EF4-FFF2-40B4-BE49-F238E27FC236}">
                <a16:creationId xmlns:a16="http://schemas.microsoft.com/office/drawing/2014/main" id="{5B9291F3-202A-FF07-EDE5-F825F9A0022D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0D35F5E-1066-B0B9-6583-43094D7BAF4A}"/>
              </a:ext>
            </a:extLst>
          </p:cNvPr>
          <p:cNvSpPr txBox="1"/>
          <p:nvPr/>
        </p:nvSpPr>
        <p:spPr>
          <a:xfrm>
            <a:off x="4559848" y="219930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0.193.0/2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274FF634-6667-300D-D482-ACC9B4905492}"/>
              </a:ext>
            </a:extLst>
          </p:cNvPr>
          <p:cNvSpPr/>
          <p:nvPr/>
        </p:nvSpPr>
        <p:spPr>
          <a:xfrm>
            <a:off x="3289307" y="3715085"/>
            <a:ext cx="1567919" cy="2801746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0150D756-4D08-574F-AF50-69F4939555B0}"/>
              </a:ext>
            </a:extLst>
          </p:cNvPr>
          <p:cNvSpPr/>
          <p:nvPr/>
        </p:nvSpPr>
        <p:spPr>
          <a:xfrm>
            <a:off x="4943367" y="3715084"/>
            <a:ext cx="101682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B9AB31C7-A47E-7DD3-6656-9FEF1171CAEE}"/>
              </a:ext>
            </a:extLst>
          </p:cNvPr>
          <p:cNvSpPr/>
          <p:nvPr/>
        </p:nvSpPr>
        <p:spPr>
          <a:xfrm>
            <a:off x="6043468" y="3715084"/>
            <a:ext cx="110514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32" name="圆角矩形 1431">
            <a:extLst>
              <a:ext uri="{FF2B5EF4-FFF2-40B4-BE49-F238E27FC236}">
                <a16:creationId xmlns:a16="http://schemas.microsoft.com/office/drawing/2014/main" id="{C17C0328-E6C8-55A1-3BE7-6958AE180492}"/>
              </a:ext>
            </a:extLst>
          </p:cNvPr>
          <p:cNvSpPr/>
          <p:nvPr/>
        </p:nvSpPr>
        <p:spPr>
          <a:xfrm>
            <a:off x="3354540" y="3844026"/>
            <a:ext cx="3727432" cy="2603074"/>
          </a:xfrm>
          <a:prstGeom prst="roundRect">
            <a:avLst>
              <a:gd name="adj" fmla="val 2434"/>
            </a:avLst>
          </a:prstGeom>
          <a:solidFill>
            <a:srgbClr val="DE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4900ADDD-2434-B023-FD1B-EA9085004B12}"/>
              </a:ext>
            </a:extLst>
          </p:cNvPr>
          <p:cNvSpPr/>
          <p:nvPr/>
        </p:nvSpPr>
        <p:spPr>
          <a:xfrm>
            <a:off x="10507939" y="413473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78BD9FAE-0F70-B5A2-D700-21BE25FA06D8}"/>
              </a:ext>
            </a:extLst>
          </p:cNvPr>
          <p:cNvSpPr/>
          <p:nvPr/>
        </p:nvSpPr>
        <p:spPr>
          <a:xfrm>
            <a:off x="10507939" y="435014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0CA5BA2-AB8A-BD6C-D22F-1323E06D41F1}"/>
              </a:ext>
            </a:extLst>
          </p:cNvPr>
          <p:cNvSpPr txBox="1"/>
          <p:nvPr/>
        </p:nvSpPr>
        <p:spPr>
          <a:xfrm>
            <a:off x="3570801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1 (</a:t>
            </a:r>
            <a:r>
              <a:rPr kumimoji="1" lang="en-US" altLang="zh-CN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72A07A9B-3D7E-1234-1835-21EBFA80C332}"/>
              </a:ext>
            </a:extLst>
          </p:cNvPr>
          <p:cNvSpPr txBox="1"/>
          <p:nvPr/>
        </p:nvSpPr>
        <p:spPr>
          <a:xfrm>
            <a:off x="4945870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D2CFC35-D227-8C48-DDF8-B95E5E5EA40D}"/>
              </a:ext>
            </a:extLst>
          </p:cNvPr>
          <p:cNvSpPr txBox="1"/>
          <p:nvPr/>
        </p:nvSpPr>
        <p:spPr>
          <a:xfrm>
            <a:off x="6112814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82" name="圆角矩形 1381">
            <a:extLst>
              <a:ext uri="{FF2B5EF4-FFF2-40B4-BE49-F238E27FC236}">
                <a16:creationId xmlns:a16="http://schemas.microsoft.com/office/drawing/2014/main" id="{673F000F-5274-6EBE-20B1-3AEBF45FFBBD}"/>
              </a:ext>
            </a:extLst>
          </p:cNvPr>
          <p:cNvSpPr/>
          <p:nvPr/>
        </p:nvSpPr>
        <p:spPr>
          <a:xfrm>
            <a:off x="3353877" y="3918811"/>
            <a:ext cx="3922412" cy="2397009"/>
          </a:xfrm>
          <a:prstGeom prst="roundRect">
            <a:avLst>
              <a:gd name="adj" fmla="val 0"/>
            </a:avLst>
          </a:prstGeom>
          <a:solidFill>
            <a:srgbClr val="FFE7BF">
              <a:alpha val="55652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F87CF6D1-4D47-CC91-59C9-01D3209A73B3}"/>
              </a:ext>
            </a:extLst>
          </p:cNvPr>
          <p:cNvSpPr/>
          <p:nvPr/>
        </p:nvSpPr>
        <p:spPr>
          <a:xfrm>
            <a:off x="3429199" y="4000056"/>
            <a:ext cx="3580968" cy="81326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1" name="圆角矩形 210">
            <a:extLst>
              <a:ext uri="{FF2B5EF4-FFF2-40B4-BE49-F238E27FC236}">
                <a16:creationId xmlns:a16="http://schemas.microsoft.com/office/drawing/2014/main" id="{BBD8A7B0-8947-ED0F-6A53-353479FDC941}"/>
              </a:ext>
            </a:extLst>
          </p:cNvPr>
          <p:cNvSpPr/>
          <p:nvPr/>
        </p:nvSpPr>
        <p:spPr>
          <a:xfrm>
            <a:off x="3429199" y="4004336"/>
            <a:ext cx="425251" cy="9411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 Gateway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5FF7F5DA-37D3-C801-68BA-B11173568325}"/>
              </a:ext>
            </a:extLst>
          </p:cNvPr>
          <p:cNvSpPr/>
          <p:nvPr/>
        </p:nvSpPr>
        <p:spPr>
          <a:xfrm>
            <a:off x="3429199" y="5600891"/>
            <a:ext cx="3584399" cy="239991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44" name="圆角矩形 343">
            <a:extLst>
              <a:ext uri="{FF2B5EF4-FFF2-40B4-BE49-F238E27FC236}">
                <a16:creationId xmlns:a16="http://schemas.microsoft.com/office/drawing/2014/main" id="{B2118F76-4FDA-4676-89AF-018A91CF8047}"/>
              </a:ext>
            </a:extLst>
          </p:cNvPr>
          <p:cNvSpPr/>
          <p:nvPr/>
        </p:nvSpPr>
        <p:spPr>
          <a:xfrm>
            <a:off x="3992833" y="4034048"/>
            <a:ext cx="2865168" cy="213759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345" name="组合 344">
            <a:extLst>
              <a:ext uri="{FF2B5EF4-FFF2-40B4-BE49-F238E27FC236}">
                <a16:creationId xmlns:a16="http://schemas.microsoft.com/office/drawing/2014/main" id="{61E8654F-1203-E479-D4EB-7E0EFF748D35}"/>
              </a:ext>
            </a:extLst>
          </p:cNvPr>
          <p:cNvGrpSpPr/>
          <p:nvPr/>
        </p:nvGrpSpPr>
        <p:grpSpPr>
          <a:xfrm>
            <a:off x="4341260" y="4048343"/>
            <a:ext cx="349933" cy="187200"/>
            <a:chOff x="4160938" y="4142367"/>
            <a:chExt cx="349933" cy="187200"/>
          </a:xfrm>
        </p:grpSpPr>
        <p:pic>
          <p:nvPicPr>
            <p:cNvPr id="347" name="图片 346">
              <a:extLst>
                <a:ext uri="{FF2B5EF4-FFF2-40B4-BE49-F238E27FC236}">
                  <a16:creationId xmlns:a16="http://schemas.microsoft.com/office/drawing/2014/main" id="{9523F449-6E3D-080F-6A59-DBE392375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51" name="文本框 350">
              <a:extLst>
                <a:ext uri="{FF2B5EF4-FFF2-40B4-BE49-F238E27FC236}">
                  <a16:creationId xmlns:a16="http://schemas.microsoft.com/office/drawing/2014/main" id="{95EE5375-199F-7EDE-FA95-EBEFB570BF77}"/>
                </a:ext>
              </a:extLst>
            </p:cNvPr>
            <p:cNvSpPr txBox="1"/>
            <p:nvPr/>
          </p:nvSpPr>
          <p:spPr>
            <a:xfrm>
              <a:off x="4303802" y="4226466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52" name="组合 351">
            <a:extLst>
              <a:ext uri="{FF2B5EF4-FFF2-40B4-BE49-F238E27FC236}">
                <a16:creationId xmlns:a16="http://schemas.microsoft.com/office/drawing/2014/main" id="{A3E0EFAC-A428-B4F5-2C13-49728508C2EF}"/>
              </a:ext>
            </a:extLst>
          </p:cNvPr>
          <p:cNvGrpSpPr/>
          <p:nvPr/>
        </p:nvGrpSpPr>
        <p:grpSpPr>
          <a:xfrm>
            <a:off x="5343975" y="4058642"/>
            <a:ext cx="342646" cy="187200"/>
            <a:chOff x="4152391" y="4142367"/>
            <a:chExt cx="342646" cy="187200"/>
          </a:xfrm>
        </p:grpSpPr>
        <p:pic>
          <p:nvPicPr>
            <p:cNvPr id="355" name="图片 354">
              <a:extLst>
                <a:ext uri="{FF2B5EF4-FFF2-40B4-BE49-F238E27FC236}">
                  <a16:creationId xmlns:a16="http://schemas.microsoft.com/office/drawing/2014/main" id="{FF73B9E6-D353-A0BD-C917-C96761526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58" name="文本框 357">
              <a:extLst>
                <a:ext uri="{FF2B5EF4-FFF2-40B4-BE49-F238E27FC236}">
                  <a16:creationId xmlns:a16="http://schemas.microsoft.com/office/drawing/2014/main" id="{CB98702B-55D2-41C4-A5C7-5B6536789EFE}"/>
                </a:ext>
              </a:extLst>
            </p:cNvPr>
            <p:cNvSpPr txBox="1"/>
            <p:nvPr/>
          </p:nvSpPr>
          <p:spPr>
            <a:xfrm>
              <a:off x="4287968" y="420448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60" name="组合 359">
            <a:extLst>
              <a:ext uri="{FF2B5EF4-FFF2-40B4-BE49-F238E27FC236}">
                <a16:creationId xmlns:a16="http://schemas.microsoft.com/office/drawing/2014/main" id="{AC8D908C-37D0-137A-F0F7-3EB92E0B4A90}"/>
              </a:ext>
            </a:extLst>
          </p:cNvPr>
          <p:cNvGrpSpPr/>
          <p:nvPr/>
        </p:nvGrpSpPr>
        <p:grpSpPr>
          <a:xfrm>
            <a:off x="6389864" y="4052316"/>
            <a:ext cx="356519" cy="187200"/>
            <a:chOff x="4157921" y="4132866"/>
            <a:chExt cx="356519" cy="187200"/>
          </a:xfrm>
        </p:grpSpPr>
        <p:pic>
          <p:nvPicPr>
            <p:cNvPr id="364" name="图片 363">
              <a:extLst>
                <a:ext uri="{FF2B5EF4-FFF2-40B4-BE49-F238E27FC236}">
                  <a16:creationId xmlns:a16="http://schemas.microsoft.com/office/drawing/2014/main" id="{3F04F5D0-2CF0-6AFF-3067-F22B35B95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68" name="文本框 367">
              <a:extLst>
                <a:ext uri="{FF2B5EF4-FFF2-40B4-BE49-F238E27FC236}">
                  <a16:creationId xmlns:a16="http://schemas.microsoft.com/office/drawing/2014/main" id="{1FE90343-0216-8286-4EB2-4A290EE0B680}"/>
                </a:ext>
              </a:extLst>
            </p:cNvPr>
            <p:cNvSpPr txBox="1"/>
            <p:nvPr/>
          </p:nvSpPr>
          <p:spPr>
            <a:xfrm>
              <a:off x="4307371" y="418990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70" name="圆角矩形 369">
            <a:extLst>
              <a:ext uri="{FF2B5EF4-FFF2-40B4-BE49-F238E27FC236}">
                <a16:creationId xmlns:a16="http://schemas.microsoft.com/office/drawing/2014/main" id="{473ADEF7-0D33-EFDD-6832-1CD5BA74A57D}"/>
              </a:ext>
            </a:extLst>
          </p:cNvPr>
          <p:cNvSpPr/>
          <p:nvPr/>
        </p:nvSpPr>
        <p:spPr>
          <a:xfrm>
            <a:off x="3992833" y="4309908"/>
            <a:ext cx="2865168" cy="204308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23" name="圆角矩形 1222">
            <a:extLst>
              <a:ext uri="{FF2B5EF4-FFF2-40B4-BE49-F238E27FC236}">
                <a16:creationId xmlns:a16="http://schemas.microsoft.com/office/drawing/2014/main" id="{0FB9BC40-B85B-BFFD-251E-5A1D540853A9}"/>
              </a:ext>
            </a:extLst>
          </p:cNvPr>
          <p:cNvSpPr/>
          <p:nvPr/>
        </p:nvSpPr>
        <p:spPr>
          <a:xfrm>
            <a:off x="3992833" y="5600891"/>
            <a:ext cx="2863160" cy="239991"/>
          </a:xfrm>
          <a:prstGeom prst="roundRect">
            <a:avLst>
              <a:gd name="adj" fmla="val 0"/>
            </a:avLst>
          </a:prstGeom>
          <a:solidFill>
            <a:srgbClr val="FFE7BF">
              <a:alpha val="0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24" name="组合 1223">
            <a:extLst>
              <a:ext uri="{FF2B5EF4-FFF2-40B4-BE49-F238E27FC236}">
                <a16:creationId xmlns:a16="http://schemas.microsoft.com/office/drawing/2014/main" id="{55B91E49-E1DD-D1E0-3168-DD9FAFD3A822}"/>
              </a:ext>
            </a:extLst>
          </p:cNvPr>
          <p:cNvGrpSpPr/>
          <p:nvPr/>
        </p:nvGrpSpPr>
        <p:grpSpPr>
          <a:xfrm>
            <a:off x="4191720" y="5598700"/>
            <a:ext cx="497590" cy="244372"/>
            <a:chOff x="4011398" y="4190029"/>
            <a:chExt cx="497590" cy="222156"/>
          </a:xfrm>
        </p:grpSpPr>
        <p:pic>
          <p:nvPicPr>
            <p:cNvPr id="1225" name="图片 1224">
              <a:extLst>
                <a:ext uri="{FF2B5EF4-FFF2-40B4-BE49-F238E27FC236}">
                  <a16:creationId xmlns:a16="http://schemas.microsoft.com/office/drawing/2014/main" id="{E56D43EC-0058-99B4-1BC1-BE0398537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26" name="图片 1225">
              <a:extLst>
                <a:ext uri="{FF2B5EF4-FFF2-40B4-BE49-F238E27FC236}">
                  <a16:creationId xmlns:a16="http://schemas.microsoft.com/office/drawing/2014/main" id="{2581772F-1855-D780-F23D-90B7BC357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27" name="肘形连接符 1226">
              <a:extLst>
                <a:ext uri="{FF2B5EF4-FFF2-40B4-BE49-F238E27FC236}">
                  <a16:creationId xmlns:a16="http://schemas.microsoft.com/office/drawing/2014/main" id="{06FC62CE-78D8-09C8-2DD7-DC9488B7AF2B}"/>
                </a:ext>
              </a:extLst>
            </p:cNvPr>
            <p:cNvCxnSpPr>
              <a:cxnSpLocks/>
              <a:stCxn id="1225" idx="3"/>
              <a:endCxn id="122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8" name="矩形 1227">
              <a:extLst>
                <a:ext uri="{FF2B5EF4-FFF2-40B4-BE49-F238E27FC236}">
                  <a16:creationId xmlns:a16="http://schemas.microsoft.com/office/drawing/2014/main" id="{A41B2911-7D3F-444C-BD5F-5DA2F0B75177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29" name="文本框 1228">
              <a:extLst>
                <a:ext uri="{FF2B5EF4-FFF2-40B4-BE49-F238E27FC236}">
                  <a16:creationId xmlns:a16="http://schemas.microsoft.com/office/drawing/2014/main" id="{D089EB5D-4662-877E-0009-E1B4464BF83F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0" name="组合 1229">
            <a:extLst>
              <a:ext uri="{FF2B5EF4-FFF2-40B4-BE49-F238E27FC236}">
                <a16:creationId xmlns:a16="http://schemas.microsoft.com/office/drawing/2014/main" id="{A971993A-AA3E-0F43-049A-264D3B234AA4}"/>
              </a:ext>
            </a:extLst>
          </p:cNvPr>
          <p:cNvGrpSpPr/>
          <p:nvPr/>
        </p:nvGrpSpPr>
        <p:grpSpPr>
          <a:xfrm>
            <a:off x="5202982" y="5598700"/>
            <a:ext cx="497590" cy="244372"/>
            <a:chOff x="4011398" y="4190029"/>
            <a:chExt cx="497590" cy="222156"/>
          </a:xfrm>
        </p:grpSpPr>
        <p:pic>
          <p:nvPicPr>
            <p:cNvPr id="1231" name="图片 1230">
              <a:extLst>
                <a:ext uri="{FF2B5EF4-FFF2-40B4-BE49-F238E27FC236}">
                  <a16:creationId xmlns:a16="http://schemas.microsoft.com/office/drawing/2014/main" id="{7A7199C9-0D3A-21F2-D2C6-6238E9744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2" name="图片 1231">
              <a:extLst>
                <a:ext uri="{FF2B5EF4-FFF2-40B4-BE49-F238E27FC236}">
                  <a16:creationId xmlns:a16="http://schemas.microsoft.com/office/drawing/2014/main" id="{AF14C0E9-B3FC-58DC-1D94-233810F69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3" name="肘形连接符 1232">
              <a:extLst>
                <a:ext uri="{FF2B5EF4-FFF2-40B4-BE49-F238E27FC236}">
                  <a16:creationId xmlns:a16="http://schemas.microsoft.com/office/drawing/2014/main" id="{9266563E-365C-6CD9-DEF2-58010282546A}"/>
                </a:ext>
              </a:extLst>
            </p:cNvPr>
            <p:cNvCxnSpPr>
              <a:cxnSpLocks/>
              <a:stCxn id="1231" idx="3"/>
              <a:endCxn id="123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4" name="矩形 1233">
              <a:extLst>
                <a:ext uri="{FF2B5EF4-FFF2-40B4-BE49-F238E27FC236}">
                  <a16:creationId xmlns:a16="http://schemas.microsoft.com/office/drawing/2014/main" id="{7080CCE1-CD34-09C7-F687-0D727947654B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35" name="文本框 1234">
              <a:extLst>
                <a:ext uri="{FF2B5EF4-FFF2-40B4-BE49-F238E27FC236}">
                  <a16:creationId xmlns:a16="http://schemas.microsoft.com/office/drawing/2014/main" id="{392F3EBA-D586-C53A-D5D6-448BDCD6FEE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6" name="组合 1235">
            <a:extLst>
              <a:ext uri="{FF2B5EF4-FFF2-40B4-BE49-F238E27FC236}">
                <a16:creationId xmlns:a16="http://schemas.microsoft.com/office/drawing/2014/main" id="{3E73210F-DD65-FF06-E410-C6C5422B0116}"/>
              </a:ext>
            </a:extLst>
          </p:cNvPr>
          <p:cNvGrpSpPr/>
          <p:nvPr/>
        </p:nvGrpSpPr>
        <p:grpSpPr>
          <a:xfrm>
            <a:off x="6243341" y="5598700"/>
            <a:ext cx="497590" cy="244372"/>
            <a:chOff x="4011398" y="4190029"/>
            <a:chExt cx="497590" cy="222156"/>
          </a:xfrm>
        </p:grpSpPr>
        <p:pic>
          <p:nvPicPr>
            <p:cNvPr id="1237" name="图片 1236">
              <a:extLst>
                <a:ext uri="{FF2B5EF4-FFF2-40B4-BE49-F238E27FC236}">
                  <a16:creationId xmlns:a16="http://schemas.microsoft.com/office/drawing/2014/main" id="{C6ADA70E-0421-3F69-DB22-F0AED1C97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8" name="图片 1237">
              <a:extLst>
                <a:ext uri="{FF2B5EF4-FFF2-40B4-BE49-F238E27FC236}">
                  <a16:creationId xmlns:a16="http://schemas.microsoft.com/office/drawing/2014/main" id="{51932848-0511-799E-525E-9C8CB0382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9" name="肘形连接符 1238">
              <a:extLst>
                <a:ext uri="{FF2B5EF4-FFF2-40B4-BE49-F238E27FC236}">
                  <a16:creationId xmlns:a16="http://schemas.microsoft.com/office/drawing/2014/main" id="{57AA2828-1FBD-B8D4-C07D-0DB8AFF83370}"/>
                </a:ext>
              </a:extLst>
            </p:cNvPr>
            <p:cNvCxnSpPr>
              <a:cxnSpLocks/>
              <a:stCxn id="1237" idx="3"/>
              <a:endCxn id="123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0" name="矩形 1239">
              <a:extLst>
                <a:ext uri="{FF2B5EF4-FFF2-40B4-BE49-F238E27FC236}">
                  <a16:creationId xmlns:a16="http://schemas.microsoft.com/office/drawing/2014/main" id="{A8707950-D0C9-76E3-9B85-C24C14E318F8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41" name="文本框 1240">
              <a:extLst>
                <a:ext uri="{FF2B5EF4-FFF2-40B4-BE49-F238E27FC236}">
                  <a16:creationId xmlns:a16="http://schemas.microsoft.com/office/drawing/2014/main" id="{1DE94251-6719-559A-AF4E-7FDE986F4C4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42" name="圆角矩形 1241">
            <a:extLst>
              <a:ext uri="{FF2B5EF4-FFF2-40B4-BE49-F238E27FC236}">
                <a16:creationId xmlns:a16="http://schemas.microsoft.com/office/drawing/2014/main" id="{757DA49D-3707-19EA-35F7-DDBDB4CA8547}"/>
              </a:ext>
            </a:extLst>
          </p:cNvPr>
          <p:cNvSpPr/>
          <p:nvPr/>
        </p:nvSpPr>
        <p:spPr>
          <a:xfrm>
            <a:off x="3429199" y="5596619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Porta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57" name="圆角矩形 1256">
            <a:extLst>
              <a:ext uri="{FF2B5EF4-FFF2-40B4-BE49-F238E27FC236}">
                <a16:creationId xmlns:a16="http://schemas.microsoft.com/office/drawing/2014/main" id="{6FA77663-567A-04DE-705A-32A6206C20C4}"/>
              </a:ext>
            </a:extLst>
          </p:cNvPr>
          <p:cNvSpPr/>
          <p:nvPr/>
        </p:nvSpPr>
        <p:spPr>
          <a:xfrm>
            <a:off x="3429199" y="4878804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58" name="圆角矩形 1257">
            <a:extLst>
              <a:ext uri="{FF2B5EF4-FFF2-40B4-BE49-F238E27FC236}">
                <a16:creationId xmlns:a16="http://schemas.microsoft.com/office/drawing/2014/main" id="{96366922-1944-D468-3D0E-632ECAA79F60}"/>
              </a:ext>
            </a:extLst>
          </p:cNvPr>
          <p:cNvSpPr/>
          <p:nvPr/>
        </p:nvSpPr>
        <p:spPr>
          <a:xfrm>
            <a:off x="3992833" y="4879062"/>
            <a:ext cx="2861240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59" name="组合 1258">
            <a:extLst>
              <a:ext uri="{FF2B5EF4-FFF2-40B4-BE49-F238E27FC236}">
                <a16:creationId xmlns:a16="http://schemas.microsoft.com/office/drawing/2014/main" id="{E61099E8-DAA8-8619-2CB6-1FC46DE5E6D4}"/>
              </a:ext>
            </a:extLst>
          </p:cNvPr>
          <p:cNvGrpSpPr/>
          <p:nvPr/>
        </p:nvGrpSpPr>
        <p:grpSpPr>
          <a:xfrm>
            <a:off x="4191720" y="4915975"/>
            <a:ext cx="497590" cy="246474"/>
            <a:chOff x="4011398" y="4190029"/>
            <a:chExt cx="497590" cy="224067"/>
          </a:xfrm>
        </p:grpSpPr>
        <p:pic>
          <p:nvPicPr>
            <p:cNvPr id="1260" name="图片 1259">
              <a:extLst>
                <a:ext uri="{FF2B5EF4-FFF2-40B4-BE49-F238E27FC236}">
                  <a16:creationId xmlns:a16="http://schemas.microsoft.com/office/drawing/2014/main" id="{98E4941C-C7FE-BE0D-B13D-C231CD8F0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61" name="图片 1260">
              <a:extLst>
                <a:ext uri="{FF2B5EF4-FFF2-40B4-BE49-F238E27FC236}">
                  <a16:creationId xmlns:a16="http://schemas.microsoft.com/office/drawing/2014/main" id="{1A430A74-68C9-5E01-8BCF-43FCD4BB5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62" name="肘形连接符 1261">
              <a:extLst>
                <a:ext uri="{FF2B5EF4-FFF2-40B4-BE49-F238E27FC236}">
                  <a16:creationId xmlns:a16="http://schemas.microsoft.com/office/drawing/2014/main" id="{8BC79207-6FDF-232D-4B51-8416DFDE7240}"/>
                </a:ext>
              </a:extLst>
            </p:cNvPr>
            <p:cNvCxnSpPr>
              <a:cxnSpLocks/>
              <a:stCxn id="1260" idx="3"/>
              <a:endCxn id="1261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3" name="矩形 1262">
              <a:extLst>
                <a:ext uri="{FF2B5EF4-FFF2-40B4-BE49-F238E27FC236}">
                  <a16:creationId xmlns:a16="http://schemas.microsoft.com/office/drawing/2014/main" id="{0C1C452D-4F84-F1F3-FB73-3ECE889761E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64" name="文本框 1263">
              <a:extLst>
                <a:ext uri="{FF2B5EF4-FFF2-40B4-BE49-F238E27FC236}">
                  <a16:creationId xmlns:a16="http://schemas.microsoft.com/office/drawing/2014/main" id="{63595586-B134-B729-7BDC-FA389601AD8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65" name="组合 1264">
            <a:extLst>
              <a:ext uri="{FF2B5EF4-FFF2-40B4-BE49-F238E27FC236}">
                <a16:creationId xmlns:a16="http://schemas.microsoft.com/office/drawing/2014/main" id="{FCE82CCF-2F37-4942-18A9-41562C33D938}"/>
              </a:ext>
            </a:extLst>
          </p:cNvPr>
          <p:cNvGrpSpPr/>
          <p:nvPr/>
        </p:nvGrpSpPr>
        <p:grpSpPr>
          <a:xfrm>
            <a:off x="5202982" y="4911941"/>
            <a:ext cx="497590" cy="246474"/>
            <a:chOff x="4011398" y="4190029"/>
            <a:chExt cx="497590" cy="224067"/>
          </a:xfrm>
        </p:grpSpPr>
        <p:pic>
          <p:nvPicPr>
            <p:cNvPr id="1266" name="图片 1265">
              <a:extLst>
                <a:ext uri="{FF2B5EF4-FFF2-40B4-BE49-F238E27FC236}">
                  <a16:creationId xmlns:a16="http://schemas.microsoft.com/office/drawing/2014/main" id="{E6069E66-1484-24BC-A8EB-C02E34B08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67" name="图片 1266">
              <a:extLst>
                <a:ext uri="{FF2B5EF4-FFF2-40B4-BE49-F238E27FC236}">
                  <a16:creationId xmlns:a16="http://schemas.microsoft.com/office/drawing/2014/main" id="{141FF399-481B-F86F-8907-C5ABE368D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68" name="肘形连接符 1267">
              <a:extLst>
                <a:ext uri="{FF2B5EF4-FFF2-40B4-BE49-F238E27FC236}">
                  <a16:creationId xmlns:a16="http://schemas.microsoft.com/office/drawing/2014/main" id="{5DEAFAC8-B9DE-88D7-FF1A-1BB9B442E329}"/>
                </a:ext>
              </a:extLst>
            </p:cNvPr>
            <p:cNvCxnSpPr>
              <a:cxnSpLocks/>
              <a:stCxn id="1266" idx="3"/>
              <a:endCxn id="1267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9" name="矩形 1268">
              <a:extLst>
                <a:ext uri="{FF2B5EF4-FFF2-40B4-BE49-F238E27FC236}">
                  <a16:creationId xmlns:a16="http://schemas.microsoft.com/office/drawing/2014/main" id="{D52701BB-5421-A39E-E006-745F431C659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70" name="文本框 1269">
              <a:extLst>
                <a:ext uri="{FF2B5EF4-FFF2-40B4-BE49-F238E27FC236}">
                  <a16:creationId xmlns:a16="http://schemas.microsoft.com/office/drawing/2014/main" id="{AA9A5478-5210-73E9-3DF4-DE68A5F79742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71" name="组合 1270">
            <a:extLst>
              <a:ext uri="{FF2B5EF4-FFF2-40B4-BE49-F238E27FC236}">
                <a16:creationId xmlns:a16="http://schemas.microsoft.com/office/drawing/2014/main" id="{C0D96CEA-006A-3158-E051-5A5CCDE41222}"/>
              </a:ext>
            </a:extLst>
          </p:cNvPr>
          <p:cNvGrpSpPr/>
          <p:nvPr/>
        </p:nvGrpSpPr>
        <p:grpSpPr>
          <a:xfrm>
            <a:off x="6243341" y="4917744"/>
            <a:ext cx="497590" cy="246474"/>
            <a:chOff x="4011398" y="4190029"/>
            <a:chExt cx="497590" cy="224067"/>
          </a:xfrm>
        </p:grpSpPr>
        <p:pic>
          <p:nvPicPr>
            <p:cNvPr id="1272" name="图片 1271">
              <a:extLst>
                <a:ext uri="{FF2B5EF4-FFF2-40B4-BE49-F238E27FC236}">
                  <a16:creationId xmlns:a16="http://schemas.microsoft.com/office/drawing/2014/main" id="{9EF6C29E-86CA-E01C-DBE9-7A4CB17A48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73" name="图片 1272">
              <a:extLst>
                <a:ext uri="{FF2B5EF4-FFF2-40B4-BE49-F238E27FC236}">
                  <a16:creationId xmlns:a16="http://schemas.microsoft.com/office/drawing/2014/main" id="{171359F0-5E63-244F-D2B7-EE523F220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74" name="肘形连接符 1273">
              <a:extLst>
                <a:ext uri="{FF2B5EF4-FFF2-40B4-BE49-F238E27FC236}">
                  <a16:creationId xmlns:a16="http://schemas.microsoft.com/office/drawing/2014/main" id="{A307BF8B-3EA2-5A24-8EE6-AEA4C37D7A41}"/>
                </a:ext>
              </a:extLst>
            </p:cNvPr>
            <p:cNvCxnSpPr>
              <a:cxnSpLocks/>
              <a:stCxn id="1272" idx="3"/>
              <a:endCxn id="1273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5" name="矩形 1274">
              <a:extLst>
                <a:ext uri="{FF2B5EF4-FFF2-40B4-BE49-F238E27FC236}">
                  <a16:creationId xmlns:a16="http://schemas.microsoft.com/office/drawing/2014/main" id="{4826C49B-76F5-7521-C767-605DBEE5357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76" name="文本框 1275">
              <a:extLst>
                <a:ext uri="{FF2B5EF4-FFF2-40B4-BE49-F238E27FC236}">
                  <a16:creationId xmlns:a16="http://schemas.microsoft.com/office/drawing/2014/main" id="{E4BD6636-E23A-6A95-40E4-8F01387953DC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77" name="圆角矩形 1276">
            <a:extLst>
              <a:ext uri="{FF2B5EF4-FFF2-40B4-BE49-F238E27FC236}">
                <a16:creationId xmlns:a16="http://schemas.microsoft.com/office/drawing/2014/main" id="{21512B7D-51B0-75ED-E0B1-B01CFFA63BB2}"/>
              </a:ext>
            </a:extLst>
          </p:cNvPr>
          <p:cNvSpPr/>
          <p:nvPr/>
        </p:nvSpPr>
        <p:spPr>
          <a:xfrm>
            <a:off x="3429199" y="4881771"/>
            <a:ext cx="45065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aS Application</a:t>
            </a:r>
          </a:p>
          <a:p>
            <a:pPr algn="ctr"/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ontainer Network)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2" name="圆角矩形 1331">
            <a:extLst>
              <a:ext uri="{FF2B5EF4-FFF2-40B4-BE49-F238E27FC236}">
                <a16:creationId xmlns:a16="http://schemas.microsoft.com/office/drawing/2014/main" id="{5D7F9362-430B-1A7F-C5C6-86168E932F45}"/>
              </a:ext>
            </a:extLst>
          </p:cNvPr>
          <p:cNvSpPr/>
          <p:nvPr/>
        </p:nvSpPr>
        <p:spPr>
          <a:xfrm>
            <a:off x="3429199" y="5231130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33" name="圆角矩形 1332">
            <a:extLst>
              <a:ext uri="{FF2B5EF4-FFF2-40B4-BE49-F238E27FC236}">
                <a16:creationId xmlns:a16="http://schemas.microsoft.com/office/drawing/2014/main" id="{471072A0-CEF6-65EE-B203-66C69E74A431}"/>
              </a:ext>
            </a:extLst>
          </p:cNvPr>
          <p:cNvSpPr/>
          <p:nvPr/>
        </p:nvSpPr>
        <p:spPr>
          <a:xfrm>
            <a:off x="3992832" y="5231388"/>
            <a:ext cx="2866783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34" name="组合 1333">
            <a:extLst>
              <a:ext uri="{FF2B5EF4-FFF2-40B4-BE49-F238E27FC236}">
                <a16:creationId xmlns:a16="http://schemas.microsoft.com/office/drawing/2014/main" id="{18896A75-2986-8F68-1EB7-3AFEDE52D750}"/>
              </a:ext>
            </a:extLst>
          </p:cNvPr>
          <p:cNvGrpSpPr/>
          <p:nvPr/>
        </p:nvGrpSpPr>
        <p:grpSpPr>
          <a:xfrm>
            <a:off x="4191720" y="5268301"/>
            <a:ext cx="497590" cy="246474"/>
            <a:chOff x="4011398" y="4190029"/>
            <a:chExt cx="497590" cy="224067"/>
          </a:xfrm>
        </p:grpSpPr>
        <p:pic>
          <p:nvPicPr>
            <p:cNvPr id="1335" name="图片 1334">
              <a:extLst>
                <a:ext uri="{FF2B5EF4-FFF2-40B4-BE49-F238E27FC236}">
                  <a16:creationId xmlns:a16="http://schemas.microsoft.com/office/drawing/2014/main" id="{6B4A79CE-895F-818A-2AE3-8B07E920B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36" name="图片 1335">
              <a:extLst>
                <a:ext uri="{FF2B5EF4-FFF2-40B4-BE49-F238E27FC236}">
                  <a16:creationId xmlns:a16="http://schemas.microsoft.com/office/drawing/2014/main" id="{DEAD7F24-8F91-F25D-8EA3-420676F61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37" name="肘形连接符 1336">
              <a:extLst>
                <a:ext uri="{FF2B5EF4-FFF2-40B4-BE49-F238E27FC236}">
                  <a16:creationId xmlns:a16="http://schemas.microsoft.com/office/drawing/2014/main" id="{3CEF8A1D-B5F1-A19B-E8E1-35E32D334EA4}"/>
                </a:ext>
              </a:extLst>
            </p:cNvPr>
            <p:cNvCxnSpPr>
              <a:cxnSpLocks/>
              <a:stCxn id="1335" idx="3"/>
              <a:endCxn id="133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8" name="矩形 1337">
              <a:extLst>
                <a:ext uri="{FF2B5EF4-FFF2-40B4-BE49-F238E27FC236}">
                  <a16:creationId xmlns:a16="http://schemas.microsoft.com/office/drawing/2014/main" id="{A8F3DFA3-EA85-FE18-01E9-26A29504CF5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39" name="文本框 1338">
              <a:extLst>
                <a:ext uri="{FF2B5EF4-FFF2-40B4-BE49-F238E27FC236}">
                  <a16:creationId xmlns:a16="http://schemas.microsoft.com/office/drawing/2014/main" id="{49B0ABF7-F780-A98D-4C37-BE7BA3DED1CB}"/>
                </a:ext>
              </a:extLst>
            </p:cNvPr>
            <p:cNvSpPr txBox="1"/>
            <p:nvPr/>
          </p:nvSpPr>
          <p:spPr>
            <a:xfrm>
              <a:off x="4135903" y="4356608"/>
              <a:ext cx="242298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340" name="组合 1339">
            <a:extLst>
              <a:ext uri="{FF2B5EF4-FFF2-40B4-BE49-F238E27FC236}">
                <a16:creationId xmlns:a16="http://schemas.microsoft.com/office/drawing/2014/main" id="{79D378EE-3131-75BD-E88B-B935104134E0}"/>
              </a:ext>
            </a:extLst>
          </p:cNvPr>
          <p:cNvGrpSpPr/>
          <p:nvPr/>
        </p:nvGrpSpPr>
        <p:grpSpPr>
          <a:xfrm>
            <a:off x="5202982" y="5264267"/>
            <a:ext cx="497590" cy="246474"/>
            <a:chOff x="4011398" y="4190029"/>
            <a:chExt cx="497590" cy="224067"/>
          </a:xfrm>
        </p:grpSpPr>
        <p:pic>
          <p:nvPicPr>
            <p:cNvPr id="1341" name="图片 1340">
              <a:extLst>
                <a:ext uri="{FF2B5EF4-FFF2-40B4-BE49-F238E27FC236}">
                  <a16:creationId xmlns:a16="http://schemas.microsoft.com/office/drawing/2014/main" id="{72063101-AF06-F921-D70A-DECA6A139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42" name="图片 1341">
              <a:extLst>
                <a:ext uri="{FF2B5EF4-FFF2-40B4-BE49-F238E27FC236}">
                  <a16:creationId xmlns:a16="http://schemas.microsoft.com/office/drawing/2014/main" id="{F7BAFD3B-3D46-3D76-615A-2F40DE6AA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43" name="肘形连接符 1342">
              <a:extLst>
                <a:ext uri="{FF2B5EF4-FFF2-40B4-BE49-F238E27FC236}">
                  <a16:creationId xmlns:a16="http://schemas.microsoft.com/office/drawing/2014/main" id="{D998C327-D49B-CB08-4079-6208142BEFB9}"/>
                </a:ext>
              </a:extLst>
            </p:cNvPr>
            <p:cNvCxnSpPr>
              <a:cxnSpLocks/>
              <a:stCxn id="1341" idx="3"/>
              <a:endCxn id="134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4" name="矩形 1343">
              <a:extLst>
                <a:ext uri="{FF2B5EF4-FFF2-40B4-BE49-F238E27FC236}">
                  <a16:creationId xmlns:a16="http://schemas.microsoft.com/office/drawing/2014/main" id="{EFD93CAC-952C-19D7-1A65-8194FCED0BC1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45" name="文本框 1344">
              <a:extLst>
                <a:ext uri="{FF2B5EF4-FFF2-40B4-BE49-F238E27FC236}">
                  <a16:creationId xmlns:a16="http://schemas.microsoft.com/office/drawing/2014/main" id="{144CF0C4-3940-71C0-4B97-F17ACE4CD3EF}"/>
                </a:ext>
              </a:extLst>
            </p:cNvPr>
            <p:cNvSpPr txBox="1"/>
            <p:nvPr/>
          </p:nvSpPr>
          <p:spPr>
            <a:xfrm>
              <a:off x="4144547" y="4356577"/>
              <a:ext cx="233653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346" name="组合 1345">
            <a:extLst>
              <a:ext uri="{FF2B5EF4-FFF2-40B4-BE49-F238E27FC236}">
                <a16:creationId xmlns:a16="http://schemas.microsoft.com/office/drawing/2014/main" id="{D0B8841C-75BB-E587-315F-7CDECD68E774}"/>
              </a:ext>
            </a:extLst>
          </p:cNvPr>
          <p:cNvGrpSpPr/>
          <p:nvPr/>
        </p:nvGrpSpPr>
        <p:grpSpPr>
          <a:xfrm>
            <a:off x="6243341" y="5270076"/>
            <a:ext cx="497590" cy="247989"/>
            <a:chOff x="4011398" y="4190029"/>
            <a:chExt cx="497590" cy="225444"/>
          </a:xfrm>
        </p:grpSpPr>
        <p:pic>
          <p:nvPicPr>
            <p:cNvPr id="1347" name="图片 1346">
              <a:extLst>
                <a:ext uri="{FF2B5EF4-FFF2-40B4-BE49-F238E27FC236}">
                  <a16:creationId xmlns:a16="http://schemas.microsoft.com/office/drawing/2014/main" id="{27145E23-357D-5E24-1995-C8D946DE5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48" name="图片 1347">
              <a:extLst>
                <a:ext uri="{FF2B5EF4-FFF2-40B4-BE49-F238E27FC236}">
                  <a16:creationId xmlns:a16="http://schemas.microsoft.com/office/drawing/2014/main" id="{7CC896BD-1760-FC23-E3F2-B9F8BE64F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49" name="肘形连接符 1348">
              <a:extLst>
                <a:ext uri="{FF2B5EF4-FFF2-40B4-BE49-F238E27FC236}">
                  <a16:creationId xmlns:a16="http://schemas.microsoft.com/office/drawing/2014/main" id="{7BFC8354-7F34-7B85-8C09-5F70A18ED2E7}"/>
                </a:ext>
              </a:extLst>
            </p:cNvPr>
            <p:cNvCxnSpPr>
              <a:cxnSpLocks/>
              <a:stCxn id="1347" idx="3"/>
              <a:endCxn id="134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0" name="矩形 1349">
              <a:extLst>
                <a:ext uri="{FF2B5EF4-FFF2-40B4-BE49-F238E27FC236}">
                  <a16:creationId xmlns:a16="http://schemas.microsoft.com/office/drawing/2014/main" id="{9E786442-6C52-B0F1-919D-1E999536C661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51" name="文本框 1350">
              <a:extLst>
                <a:ext uri="{FF2B5EF4-FFF2-40B4-BE49-F238E27FC236}">
                  <a16:creationId xmlns:a16="http://schemas.microsoft.com/office/drawing/2014/main" id="{09ACB3D5-7053-2787-FAB1-1F1B77E3E192}"/>
                </a:ext>
              </a:extLst>
            </p:cNvPr>
            <p:cNvSpPr txBox="1"/>
            <p:nvPr/>
          </p:nvSpPr>
          <p:spPr>
            <a:xfrm>
              <a:off x="4143279" y="4359514"/>
              <a:ext cx="234921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352" name="圆角矩形 1351">
            <a:extLst>
              <a:ext uri="{FF2B5EF4-FFF2-40B4-BE49-F238E27FC236}">
                <a16:creationId xmlns:a16="http://schemas.microsoft.com/office/drawing/2014/main" id="{5A009385-34A3-3E74-AC1E-58B5F2C639EC}"/>
              </a:ext>
            </a:extLst>
          </p:cNvPr>
          <p:cNvSpPr/>
          <p:nvPr/>
        </p:nvSpPr>
        <p:spPr>
          <a:xfrm>
            <a:off x="3429199" y="5231337"/>
            <a:ext cx="448115" cy="2069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t Network)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92" name="圆角矩形 1391">
            <a:extLst>
              <a:ext uri="{FF2B5EF4-FFF2-40B4-BE49-F238E27FC236}">
                <a16:creationId xmlns:a16="http://schemas.microsoft.com/office/drawing/2014/main" id="{2092E1FC-4EBE-268E-7939-E6A31DDE5F0C}"/>
              </a:ext>
            </a:extLst>
          </p:cNvPr>
          <p:cNvSpPr/>
          <p:nvPr/>
        </p:nvSpPr>
        <p:spPr>
          <a:xfrm>
            <a:off x="3429199" y="5875730"/>
            <a:ext cx="3584399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93" name="圆角矩形 1392">
            <a:extLst>
              <a:ext uri="{FF2B5EF4-FFF2-40B4-BE49-F238E27FC236}">
                <a16:creationId xmlns:a16="http://schemas.microsoft.com/office/drawing/2014/main" id="{81FBB822-2BA0-3617-09BD-0654F73CF868}"/>
              </a:ext>
            </a:extLst>
          </p:cNvPr>
          <p:cNvSpPr/>
          <p:nvPr/>
        </p:nvSpPr>
        <p:spPr>
          <a:xfrm>
            <a:off x="3995458" y="5875730"/>
            <a:ext cx="2863160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94" name="组合 1393">
            <a:extLst>
              <a:ext uri="{FF2B5EF4-FFF2-40B4-BE49-F238E27FC236}">
                <a16:creationId xmlns:a16="http://schemas.microsoft.com/office/drawing/2014/main" id="{7D61F556-090C-E464-1F71-8F1E4FA98969}"/>
              </a:ext>
            </a:extLst>
          </p:cNvPr>
          <p:cNvGrpSpPr/>
          <p:nvPr/>
        </p:nvGrpSpPr>
        <p:grpSpPr>
          <a:xfrm>
            <a:off x="4191720" y="5874144"/>
            <a:ext cx="497590" cy="244372"/>
            <a:chOff x="4011398" y="4190029"/>
            <a:chExt cx="497590" cy="222156"/>
          </a:xfrm>
        </p:grpSpPr>
        <p:pic>
          <p:nvPicPr>
            <p:cNvPr id="1395" name="图片 1394">
              <a:extLst>
                <a:ext uri="{FF2B5EF4-FFF2-40B4-BE49-F238E27FC236}">
                  <a16:creationId xmlns:a16="http://schemas.microsoft.com/office/drawing/2014/main" id="{951B199B-1957-C1B6-153E-4CFBAD44A7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96" name="图片 1395">
              <a:extLst>
                <a:ext uri="{FF2B5EF4-FFF2-40B4-BE49-F238E27FC236}">
                  <a16:creationId xmlns:a16="http://schemas.microsoft.com/office/drawing/2014/main" id="{15D76DCA-0A6C-B1F7-6290-2373F9E7A9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97" name="肘形连接符 1396">
              <a:extLst>
                <a:ext uri="{FF2B5EF4-FFF2-40B4-BE49-F238E27FC236}">
                  <a16:creationId xmlns:a16="http://schemas.microsoft.com/office/drawing/2014/main" id="{3220E876-53C6-2FB0-47BB-7CA1E6B9AF9A}"/>
                </a:ext>
              </a:extLst>
            </p:cNvPr>
            <p:cNvCxnSpPr>
              <a:cxnSpLocks/>
              <a:stCxn id="1395" idx="3"/>
              <a:endCxn id="139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8" name="矩形 1397">
              <a:extLst>
                <a:ext uri="{FF2B5EF4-FFF2-40B4-BE49-F238E27FC236}">
                  <a16:creationId xmlns:a16="http://schemas.microsoft.com/office/drawing/2014/main" id="{01572925-D8D4-9312-83D5-B9A075122E51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99" name="文本框 1398">
              <a:extLst>
                <a:ext uri="{FF2B5EF4-FFF2-40B4-BE49-F238E27FC236}">
                  <a16:creationId xmlns:a16="http://schemas.microsoft.com/office/drawing/2014/main" id="{9B340A00-72FD-1B96-5A95-EDC92BC4106C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0" name="组合 1399">
            <a:extLst>
              <a:ext uri="{FF2B5EF4-FFF2-40B4-BE49-F238E27FC236}">
                <a16:creationId xmlns:a16="http://schemas.microsoft.com/office/drawing/2014/main" id="{51E98144-A6F1-B9F2-ED4C-78AA1D251AB6}"/>
              </a:ext>
            </a:extLst>
          </p:cNvPr>
          <p:cNvGrpSpPr/>
          <p:nvPr/>
        </p:nvGrpSpPr>
        <p:grpSpPr>
          <a:xfrm>
            <a:off x="5202982" y="5874144"/>
            <a:ext cx="497590" cy="244372"/>
            <a:chOff x="4011398" y="4190029"/>
            <a:chExt cx="497590" cy="222156"/>
          </a:xfrm>
        </p:grpSpPr>
        <p:pic>
          <p:nvPicPr>
            <p:cNvPr id="1401" name="图片 1400">
              <a:extLst>
                <a:ext uri="{FF2B5EF4-FFF2-40B4-BE49-F238E27FC236}">
                  <a16:creationId xmlns:a16="http://schemas.microsoft.com/office/drawing/2014/main" id="{FE1476AB-D70D-EC45-E270-2408BB5CF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2" name="图片 1401">
              <a:extLst>
                <a:ext uri="{FF2B5EF4-FFF2-40B4-BE49-F238E27FC236}">
                  <a16:creationId xmlns:a16="http://schemas.microsoft.com/office/drawing/2014/main" id="{EA491F36-D5C5-6A53-2026-5FFC1A9F5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3" name="肘形连接符 1402">
              <a:extLst>
                <a:ext uri="{FF2B5EF4-FFF2-40B4-BE49-F238E27FC236}">
                  <a16:creationId xmlns:a16="http://schemas.microsoft.com/office/drawing/2014/main" id="{B3AE87EE-AA16-102A-4DEC-C5D2D1287263}"/>
                </a:ext>
              </a:extLst>
            </p:cNvPr>
            <p:cNvCxnSpPr>
              <a:cxnSpLocks/>
              <a:stCxn id="1401" idx="3"/>
              <a:endCxn id="140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矩形 1403">
              <a:extLst>
                <a:ext uri="{FF2B5EF4-FFF2-40B4-BE49-F238E27FC236}">
                  <a16:creationId xmlns:a16="http://schemas.microsoft.com/office/drawing/2014/main" id="{7DE0BB3E-4C4E-ED4B-26FC-CEE015432C0A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05" name="文本框 1404">
              <a:extLst>
                <a:ext uri="{FF2B5EF4-FFF2-40B4-BE49-F238E27FC236}">
                  <a16:creationId xmlns:a16="http://schemas.microsoft.com/office/drawing/2014/main" id="{33F5D322-378C-AD54-F95C-7A301AF83A4A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6" name="组合 1405">
            <a:extLst>
              <a:ext uri="{FF2B5EF4-FFF2-40B4-BE49-F238E27FC236}">
                <a16:creationId xmlns:a16="http://schemas.microsoft.com/office/drawing/2014/main" id="{C2B70136-3BB4-914E-CB14-77DF9F82FEE3}"/>
              </a:ext>
            </a:extLst>
          </p:cNvPr>
          <p:cNvGrpSpPr/>
          <p:nvPr/>
        </p:nvGrpSpPr>
        <p:grpSpPr>
          <a:xfrm>
            <a:off x="6243341" y="5874144"/>
            <a:ext cx="497590" cy="244372"/>
            <a:chOff x="4011398" y="4190029"/>
            <a:chExt cx="497590" cy="222156"/>
          </a:xfrm>
        </p:grpSpPr>
        <p:pic>
          <p:nvPicPr>
            <p:cNvPr id="1407" name="图片 1406">
              <a:extLst>
                <a:ext uri="{FF2B5EF4-FFF2-40B4-BE49-F238E27FC236}">
                  <a16:creationId xmlns:a16="http://schemas.microsoft.com/office/drawing/2014/main" id="{A9FCF0F4-7559-EA51-446C-4B4D99C1A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8" name="图片 1407">
              <a:extLst>
                <a:ext uri="{FF2B5EF4-FFF2-40B4-BE49-F238E27FC236}">
                  <a16:creationId xmlns:a16="http://schemas.microsoft.com/office/drawing/2014/main" id="{AB069925-E38F-679B-F3BE-E00BC2467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9" name="肘形连接符 1408">
              <a:extLst>
                <a:ext uri="{FF2B5EF4-FFF2-40B4-BE49-F238E27FC236}">
                  <a16:creationId xmlns:a16="http://schemas.microsoft.com/office/drawing/2014/main" id="{64BF66B6-7765-76AA-E21A-921C65C7AB23}"/>
                </a:ext>
              </a:extLst>
            </p:cNvPr>
            <p:cNvCxnSpPr>
              <a:cxnSpLocks/>
              <a:stCxn id="1407" idx="3"/>
              <a:endCxn id="140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0" name="矩形 1409">
              <a:extLst>
                <a:ext uri="{FF2B5EF4-FFF2-40B4-BE49-F238E27FC236}">
                  <a16:creationId xmlns:a16="http://schemas.microsoft.com/office/drawing/2014/main" id="{C9E5F7E0-18E5-2292-D737-D0621B7FFE5B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11" name="文本框 1410">
              <a:extLst>
                <a:ext uri="{FF2B5EF4-FFF2-40B4-BE49-F238E27FC236}">
                  <a16:creationId xmlns:a16="http://schemas.microsoft.com/office/drawing/2014/main" id="{17CBD63F-C719-0C25-BD96-882D3C761315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412" name="圆角矩形 1411">
            <a:extLst>
              <a:ext uri="{FF2B5EF4-FFF2-40B4-BE49-F238E27FC236}">
                <a16:creationId xmlns:a16="http://schemas.microsoft.com/office/drawing/2014/main" id="{F506DCA6-CF52-E219-AE56-9CAE21720660}"/>
              </a:ext>
            </a:extLst>
          </p:cNvPr>
          <p:cNvSpPr/>
          <p:nvPr/>
        </p:nvSpPr>
        <p:spPr>
          <a:xfrm>
            <a:off x="3429199" y="5869856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 Too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4" name="图形 1433">
            <a:extLst>
              <a:ext uri="{FF2B5EF4-FFF2-40B4-BE49-F238E27FC236}">
                <a16:creationId xmlns:a16="http://schemas.microsoft.com/office/drawing/2014/main" id="{9C210C77-6D49-B66F-3EAB-573AF16CDFF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045726" y="5324439"/>
            <a:ext cx="209382" cy="202839"/>
          </a:xfrm>
          <a:prstGeom prst="rect">
            <a:avLst/>
          </a:prstGeom>
        </p:spPr>
      </p:pic>
      <p:pic>
        <p:nvPicPr>
          <p:cNvPr id="1436" name="Picture 2" descr="Virtual Network Pricing | Microsoft Azure">
            <a:extLst>
              <a:ext uri="{FF2B5EF4-FFF2-40B4-BE49-F238E27FC236}">
                <a16:creationId xmlns:a16="http://schemas.microsoft.com/office/drawing/2014/main" id="{A1FFDEFB-94DA-0177-3869-FFF4211E5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6234907" y="6342335"/>
            <a:ext cx="142282" cy="7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4" name="文本框 1443">
            <a:extLst>
              <a:ext uri="{FF2B5EF4-FFF2-40B4-BE49-F238E27FC236}">
                <a16:creationId xmlns:a16="http://schemas.microsoft.com/office/drawing/2014/main" id="{504DD71B-32DC-50F4-79B9-37CB64987F37}"/>
              </a:ext>
            </a:extLst>
          </p:cNvPr>
          <p:cNvSpPr txBox="1"/>
          <p:nvPr/>
        </p:nvSpPr>
        <p:spPr>
          <a:xfrm>
            <a:off x="6362379" y="6352256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Net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04" name="肘形连接符 1103">
            <a:extLst>
              <a:ext uri="{FF2B5EF4-FFF2-40B4-BE49-F238E27FC236}">
                <a16:creationId xmlns:a16="http://schemas.microsoft.com/office/drawing/2014/main" id="{4EB8598D-1E09-38EA-4D26-B599CB863048}"/>
              </a:ext>
            </a:extLst>
          </p:cNvPr>
          <p:cNvCxnSpPr>
            <a:cxnSpLocks/>
            <a:stCxn id="329" idx="3"/>
            <a:endCxn id="344" idx="1"/>
          </p:cNvCxnSpPr>
          <p:nvPr/>
        </p:nvCxnSpPr>
        <p:spPr>
          <a:xfrm>
            <a:off x="3033039" y="3682278"/>
            <a:ext cx="959794" cy="45865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43" name="肘形连接符 1242">
            <a:extLst>
              <a:ext uri="{FF2B5EF4-FFF2-40B4-BE49-F238E27FC236}">
                <a16:creationId xmlns:a16="http://schemas.microsoft.com/office/drawing/2014/main" id="{1B3493AD-89EE-94E0-E91E-6ABADA370169}"/>
              </a:ext>
            </a:extLst>
          </p:cNvPr>
          <p:cNvCxnSpPr>
            <a:cxnSpLocks/>
            <a:stCxn id="402" idx="3"/>
            <a:endCxn id="213" idx="1"/>
          </p:cNvCxnSpPr>
          <p:nvPr/>
        </p:nvCxnSpPr>
        <p:spPr>
          <a:xfrm flipV="1">
            <a:off x="3054531" y="5720887"/>
            <a:ext cx="374668" cy="454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50" name="文本框 1449">
            <a:extLst>
              <a:ext uri="{FF2B5EF4-FFF2-40B4-BE49-F238E27FC236}">
                <a16:creationId xmlns:a16="http://schemas.microsoft.com/office/drawing/2014/main" id="{08432672-144A-B1AE-B229-87E3EECCA561}"/>
              </a:ext>
            </a:extLst>
          </p:cNvPr>
          <p:cNvSpPr txBox="1"/>
          <p:nvPr/>
        </p:nvSpPr>
        <p:spPr>
          <a:xfrm>
            <a:off x="7018328" y="553545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13" name="矩形 1512">
            <a:extLst>
              <a:ext uri="{FF2B5EF4-FFF2-40B4-BE49-F238E27FC236}">
                <a16:creationId xmlns:a16="http://schemas.microsoft.com/office/drawing/2014/main" id="{53B1A7C8-3814-F56D-B32F-9D01129F4465}"/>
              </a:ext>
            </a:extLst>
          </p:cNvPr>
          <p:cNvSpPr/>
          <p:nvPr/>
        </p:nvSpPr>
        <p:spPr>
          <a:xfrm>
            <a:off x="7782567" y="5260569"/>
            <a:ext cx="1833513" cy="868618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4" name="矩形 1513">
            <a:extLst>
              <a:ext uri="{FF2B5EF4-FFF2-40B4-BE49-F238E27FC236}">
                <a16:creationId xmlns:a16="http://schemas.microsoft.com/office/drawing/2014/main" id="{9B07EC63-3376-8243-F770-4DCCF2B457C2}"/>
              </a:ext>
            </a:extLst>
          </p:cNvPr>
          <p:cNvSpPr/>
          <p:nvPr/>
        </p:nvSpPr>
        <p:spPr>
          <a:xfrm>
            <a:off x="7925315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5" name="文本框 1514">
            <a:extLst>
              <a:ext uri="{FF2B5EF4-FFF2-40B4-BE49-F238E27FC236}">
                <a16:creationId xmlns:a16="http://schemas.microsoft.com/office/drawing/2014/main" id="{3CBCFE7D-F73D-077F-19CF-4746FF2B1717}"/>
              </a:ext>
            </a:extLst>
          </p:cNvPr>
          <p:cNvSpPr txBox="1"/>
          <p:nvPr/>
        </p:nvSpPr>
        <p:spPr>
          <a:xfrm>
            <a:off x="7907443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23" name="文本框 1522">
            <a:extLst>
              <a:ext uri="{FF2B5EF4-FFF2-40B4-BE49-F238E27FC236}">
                <a16:creationId xmlns:a16="http://schemas.microsoft.com/office/drawing/2014/main" id="{F7FF1B1F-D80C-0090-7947-1333DD136085}"/>
              </a:ext>
            </a:extLst>
          </p:cNvPr>
          <p:cNvSpPr txBox="1"/>
          <p:nvPr/>
        </p:nvSpPr>
        <p:spPr>
          <a:xfrm>
            <a:off x="8052273" y="607673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 Redundancy Storag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524" name="肘形连接符 1523">
            <a:extLst>
              <a:ext uri="{FF2B5EF4-FFF2-40B4-BE49-F238E27FC236}">
                <a16:creationId xmlns:a16="http://schemas.microsoft.com/office/drawing/2014/main" id="{9EA2CB1A-CA68-3377-5D59-FFB6CE64ECF1}"/>
              </a:ext>
            </a:extLst>
          </p:cNvPr>
          <p:cNvCxnSpPr>
            <a:cxnSpLocks/>
            <a:stCxn id="1514" idx="1"/>
            <a:endCxn id="1434" idx="3"/>
          </p:cNvCxnSpPr>
          <p:nvPr/>
        </p:nvCxnSpPr>
        <p:spPr>
          <a:xfrm rot="10800000">
            <a:off x="7255109" y="5425859"/>
            <a:ext cx="670207" cy="236246"/>
          </a:xfrm>
          <a:prstGeom prst="bentConnector3">
            <a:avLst>
              <a:gd name="adj1" fmla="val 44315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30" name="矩形 1529">
            <a:extLst>
              <a:ext uri="{FF2B5EF4-FFF2-40B4-BE49-F238E27FC236}">
                <a16:creationId xmlns:a16="http://schemas.microsoft.com/office/drawing/2014/main" id="{0391F4EC-E58B-220C-38F3-FF54E2B631D6}"/>
              </a:ext>
            </a:extLst>
          </p:cNvPr>
          <p:cNvSpPr/>
          <p:nvPr/>
        </p:nvSpPr>
        <p:spPr>
          <a:xfrm>
            <a:off x="8485421" y="5325533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1" name="文本框 1530">
            <a:extLst>
              <a:ext uri="{FF2B5EF4-FFF2-40B4-BE49-F238E27FC236}">
                <a16:creationId xmlns:a16="http://schemas.microsoft.com/office/drawing/2014/main" id="{679AE35C-DF1F-9C24-B563-49BDDC5CC94E}"/>
              </a:ext>
            </a:extLst>
          </p:cNvPr>
          <p:cNvSpPr txBox="1"/>
          <p:nvPr/>
        </p:nvSpPr>
        <p:spPr>
          <a:xfrm>
            <a:off x="8467549" y="5325533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3" name="矩形 1532">
            <a:extLst>
              <a:ext uri="{FF2B5EF4-FFF2-40B4-BE49-F238E27FC236}">
                <a16:creationId xmlns:a16="http://schemas.microsoft.com/office/drawing/2014/main" id="{DE881A9E-70CD-6EDB-1DAC-B74DF08E14C3}"/>
              </a:ext>
            </a:extLst>
          </p:cNvPr>
          <p:cNvSpPr/>
          <p:nvPr/>
        </p:nvSpPr>
        <p:spPr>
          <a:xfrm>
            <a:off x="9053384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4" name="文本框 1533">
            <a:extLst>
              <a:ext uri="{FF2B5EF4-FFF2-40B4-BE49-F238E27FC236}">
                <a16:creationId xmlns:a16="http://schemas.microsoft.com/office/drawing/2014/main" id="{7448C2F2-1FA7-2BE3-426C-29703CCBC355}"/>
              </a:ext>
            </a:extLst>
          </p:cNvPr>
          <p:cNvSpPr txBox="1"/>
          <p:nvPr/>
        </p:nvSpPr>
        <p:spPr>
          <a:xfrm>
            <a:off x="9035512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SG" sz="900" b="1" dirty="0"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6" name="文本框 1535">
            <a:extLst>
              <a:ext uri="{FF2B5EF4-FFF2-40B4-BE49-F238E27FC236}">
                <a16:creationId xmlns:a16="http://schemas.microsoft.com/office/drawing/2014/main" id="{CB170441-359A-6374-6932-8AF3C7867ECC}"/>
              </a:ext>
            </a:extLst>
          </p:cNvPr>
          <p:cNvSpPr txBox="1"/>
          <p:nvPr/>
        </p:nvSpPr>
        <p:spPr>
          <a:xfrm>
            <a:off x="8032234" y="5828981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7" name="文本框 1536">
            <a:extLst>
              <a:ext uri="{FF2B5EF4-FFF2-40B4-BE49-F238E27FC236}">
                <a16:creationId xmlns:a16="http://schemas.microsoft.com/office/drawing/2014/main" id="{FA962C21-2552-59BD-F1DD-9D1957229339}"/>
              </a:ext>
            </a:extLst>
          </p:cNvPr>
          <p:cNvSpPr txBox="1"/>
          <p:nvPr/>
        </p:nvSpPr>
        <p:spPr>
          <a:xfrm>
            <a:off x="8579770" y="5828980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8" name="文本框 1537">
            <a:extLst>
              <a:ext uri="{FF2B5EF4-FFF2-40B4-BE49-F238E27FC236}">
                <a16:creationId xmlns:a16="http://schemas.microsoft.com/office/drawing/2014/main" id="{2D321BCE-982C-15EB-728D-37D9BBE34384}"/>
              </a:ext>
            </a:extLst>
          </p:cNvPr>
          <p:cNvSpPr txBox="1"/>
          <p:nvPr/>
        </p:nvSpPr>
        <p:spPr>
          <a:xfrm>
            <a:off x="9152057" y="5835968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544" name="组合 1543">
            <a:extLst>
              <a:ext uri="{FF2B5EF4-FFF2-40B4-BE49-F238E27FC236}">
                <a16:creationId xmlns:a16="http://schemas.microsoft.com/office/drawing/2014/main" id="{F64F7680-F641-8C9F-678B-A4DF12D9FAED}"/>
              </a:ext>
            </a:extLst>
          </p:cNvPr>
          <p:cNvGrpSpPr/>
          <p:nvPr/>
        </p:nvGrpSpPr>
        <p:grpSpPr>
          <a:xfrm>
            <a:off x="7214676" y="3614484"/>
            <a:ext cx="223227" cy="223227"/>
            <a:chOff x="4995029" y="3593255"/>
            <a:chExt cx="223227" cy="223227"/>
          </a:xfrm>
        </p:grpSpPr>
        <p:pic>
          <p:nvPicPr>
            <p:cNvPr id="1545" name="图形 1544">
              <a:extLst>
                <a:ext uri="{FF2B5EF4-FFF2-40B4-BE49-F238E27FC236}">
                  <a16:creationId xmlns:a16="http://schemas.microsoft.com/office/drawing/2014/main" id="{9EAD369F-C2AC-6E90-7D56-6A982A76D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546" name="矩形 1545">
              <a:extLst>
                <a:ext uri="{FF2B5EF4-FFF2-40B4-BE49-F238E27FC236}">
                  <a16:creationId xmlns:a16="http://schemas.microsoft.com/office/drawing/2014/main" id="{D6BC526C-6E8C-28E5-DD94-E609BE99C55E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A6AF0A3B-39F5-8657-3E38-E5A594D3EE2C}"/>
              </a:ext>
            </a:extLst>
          </p:cNvPr>
          <p:cNvCxnSpPr>
            <a:cxnSpLocks/>
            <a:stCxn id="1432" idx="3"/>
            <a:endCxn id="5" idx="2"/>
          </p:cNvCxnSpPr>
          <p:nvPr/>
        </p:nvCxnSpPr>
        <p:spPr>
          <a:xfrm flipV="1">
            <a:off x="7081972" y="2461739"/>
            <a:ext cx="2607747" cy="2683824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551" name="肘形连接符 1550">
            <a:extLst>
              <a:ext uri="{FF2B5EF4-FFF2-40B4-BE49-F238E27FC236}">
                <a16:creationId xmlns:a16="http://schemas.microsoft.com/office/drawing/2014/main" id="{EB037395-8182-658F-C5BC-5F473C93D969}"/>
              </a:ext>
            </a:extLst>
          </p:cNvPr>
          <p:cNvCxnSpPr>
            <a:cxnSpLocks/>
            <a:stCxn id="1432" idx="3"/>
            <a:endCxn id="1545" idx="2"/>
          </p:cNvCxnSpPr>
          <p:nvPr/>
        </p:nvCxnSpPr>
        <p:spPr>
          <a:xfrm flipV="1">
            <a:off x="7081972" y="3837711"/>
            <a:ext cx="244318" cy="1307852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52A051BB-1A4D-BE54-F3BC-0C2AD3AD6E17}"/>
              </a:ext>
            </a:extLst>
          </p:cNvPr>
          <p:cNvCxnSpPr>
            <a:cxnSpLocks/>
            <a:stCxn id="344" idx="3"/>
            <a:endCxn id="313" idx="2"/>
          </p:cNvCxnSpPr>
          <p:nvPr/>
        </p:nvCxnSpPr>
        <p:spPr>
          <a:xfrm flipH="1" flipV="1">
            <a:off x="5832202" y="3122690"/>
            <a:ext cx="1025799" cy="1018238"/>
          </a:xfrm>
          <a:prstGeom prst="bentConnector4">
            <a:avLst>
              <a:gd name="adj1" fmla="val -22285"/>
              <a:gd name="adj2" fmla="val 55248"/>
            </a:avLst>
          </a:prstGeom>
          <a:ln w="12700">
            <a:solidFill>
              <a:srgbClr val="0332FF"/>
            </a:solidFill>
            <a:prstDash val="solid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CBBBA81C-1DE2-5EE3-5E87-C48D304A4E63}"/>
              </a:ext>
            </a:extLst>
          </p:cNvPr>
          <p:cNvCxnSpPr>
            <a:cxnSpLocks/>
            <a:stCxn id="344" idx="3"/>
            <a:endCxn id="472" idx="2"/>
          </p:cNvCxnSpPr>
          <p:nvPr/>
        </p:nvCxnSpPr>
        <p:spPr>
          <a:xfrm flipV="1">
            <a:off x="6858001" y="2468174"/>
            <a:ext cx="710972" cy="167275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601" name="文本框 1600">
            <a:extLst>
              <a:ext uri="{FF2B5EF4-FFF2-40B4-BE49-F238E27FC236}">
                <a16:creationId xmlns:a16="http://schemas.microsoft.com/office/drawing/2014/main" id="{8962FEF2-846B-E561-7868-C1043011D212}"/>
              </a:ext>
            </a:extLst>
          </p:cNvPr>
          <p:cNvSpPr txBox="1"/>
          <p:nvPr/>
        </p:nvSpPr>
        <p:spPr>
          <a:xfrm>
            <a:off x="4037742" y="4045835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02" name="文本框 1601">
            <a:extLst>
              <a:ext uri="{FF2B5EF4-FFF2-40B4-BE49-F238E27FC236}">
                <a16:creationId xmlns:a16="http://schemas.microsoft.com/office/drawing/2014/main" id="{1DE1CFF5-7DE8-66F1-33FB-395EA8FAE29C}"/>
              </a:ext>
            </a:extLst>
          </p:cNvPr>
          <p:cNvSpPr txBox="1"/>
          <p:nvPr/>
        </p:nvSpPr>
        <p:spPr>
          <a:xfrm>
            <a:off x="4037742" y="4330843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45889EF3-37CD-995E-A473-E780ADAE518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CA674612-ED44-3F0C-003C-CEC1DCC2D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ACE32669-2F98-401D-13C1-FCAA86AB267B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92" name="直线箭头连接符 191">
            <a:extLst>
              <a:ext uri="{FF2B5EF4-FFF2-40B4-BE49-F238E27FC236}">
                <a16:creationId xmlns:a16="http://schemas.microsoft.com/office/drawing/2014/main" id="{B4E05892-5F6D-2BFD-D040-D8AE31CACC3E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248" name="图片 247">
            <a:extLst>
              <a:ext uri="{FF2B5EF4-FFF2-40B4-BE49-F238E27FC236}">
                <a16:creationId xmlns:a16="http://schemas.microsoft.com/office/drawing/2014/main" id="{1EDF0B1C-B5F1-8913-F138-39D14601AB34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7991090" y="5536350"/>
            <a:ext cx="239570" cy="239570"/>
          </a:xfrm>
          <a:prstGeom prst="rect">
            <a:avLst/>
          </a:prstGeom>
        </p:spPr>
      </p:pic>
      <p:pic>
        <p:nvPicPr>
          <p:cNvPr id="255" name="图片 254">
            <a:extLst>
              <a:ext uri="{FF2B5EF4-FFF2-40B4-BE49-F238E27FC236}">
                <a16:creationId xmlns:a16="http://schemas.microsoft.com/office/drawing/2014/main" id="{AD855419-4E12-6879-A3DA-54FAB2EDCEF0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8565765" y="5536350"/>
            <a:ext cx="239570" cy="239570"/>
          </a:xfrm>
          <a:prstGeom prst="rect">
            <a:avLst/>
          </a:prstGeom>
        </p:spPr>
      </p:pic>
      <p:pic>
        <p:nvPicPr>
          <p:cNvPr id="256" name="图片 255">
            <a:extLst>
              <a:ext uri="{FF2B5EF4-FFF2-40B4-BE49-F238E27FC236}">
                <a16:creationId xmlns:a16="http://schemas.microsoft.com/office/drawing/2014/main" id="{10ED4801-4B6B-9193-B72B-E8EAB4E3A768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115982" y="5536350"/>
            <a:ext cx="239570" cy="239570"/>
          </a:xfrm>
          <a:prstGeom prst="rect">
            <a:avLst/>
          </a:prstGeom>
        </p:spPr>
      </p:pic>
      <p:grpSp>
        <p:nvGrpSpPr>
          <p:cNvPr id="259" name="组合 258">
            <a:extLst>
              <a:ext uri="{FF2B5EF4-FFF2-40B4-BE49-F238E27FC236}">
                <a16:creationId xmlns:a16="http://schemas.microsoft.com/office/drawing/2014/main" id="{1820A00E-4C15-AF4A-16CB-6DA27F6859DF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260" name="七边形 259">
              <a:extLst>
                <a:ext uri="{FF2B5EF4-FFF2-40B4-BE49-F238E27FC236}">
                  <a16:creationId xmlns:a16="http://schemas.microsoft.com/office/drawing/2014/main" id="{1C6BFCF3-A4C4-2DE6-8D66-4EDBE9F5CC0A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BB53A5B4-D75B-4978-5488-AC4BB8351053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284" name="肘形连接符 283">
            <a:extLst>
              <a:ext uri="{FF2B5EF4-FFF2-40B4-BE49-F238E27FC236}">
                <a16:creationId xmlns:a16="http://schemas.microsoft.com/office/drawing/2014/main" id="{46687901-3E0E-8A23-CFC6-A5F8A8191FB2}"/>
              </a:ext>
            </a:extLst>
          </p:cNvPr>
          <p:cNvCxnSpPr>
            <a:cxnSpLocks/>
            <a:stCxn id="344" idx="3"/>
            <a:endCxn id="1025" idx="0"/>
          </p:cNvCxnSpPr>
          <p:nvPr/>
        </p:nvCxnSpPr>
        <p:spPr>
          <a:xfrm>
            <a:off x="6858001" y="4140928"/>
            <a:ext cx="3171369" cy="67239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15" name="圆角矩形 314">
            <a:extLst>
              <a:ext uri="{FF2B5EF4-FFF2-40B4-BE49-F238E27FC236}">
                <a16:creationId xmlns:a16="http://schemas.microsoft.com/office/drawing/2014/main" id="{1CC41860-C3A7-1B66-9880-7867CFB32A6D}"/>
              </a:ext>
            </a:extLst>
          </p:cNvPr>
          <p:cNvSpPr/>
          <p:nvPr/>
        </p:nvSpPr>
        <p:spPr>
          <a:xfrm>
            <a:off x="10507535" y="457108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D9D9D9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9EBB4CA5-05D6-A1CA-5686-CF8C88E28E66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F303D6D2-F7A1-B242-79CF-1DB2BB45A2D4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1" name="七边形 10">
              <a:extLst>
                <a:ext uri="{FF2B5EF4-FFF2-40B4-BE49-F238E27FC236}">
                  <a16:creationId xmlns:a16="http://schemas.microsoft.com/office/drawing/2014/main" id="{3ABD7875-00CF-9F22-3F20-7C05841A8D61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6131935-1BC4-6B73-2DE9-9A9927DD2211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id="{0CFBE0E7-7ED9-77EB-41E6-B6C2DA028184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04.54</a:t>
            </a:r>
            <a:endParaRPr lang="en-US" altLang="zh-SG" sz="400" b="1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</a:rPr>
              <a:t>api-pt.gw.cloudsgdev.sg.singtelgroup.net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A2AA488-30CF-68B5-666E-D242E0C17B22}"/>
              </a:ext>
            </a:extLst>
          </p:cNvPr>
          <p:cNvSpPr txBox="1"/>
          <p:nvPr/>
        </p:nvSpPr>
        <p:spPr>
          <a:xfrm>
            <a:off x="5096969" y="969429"/>
            <a:ext cx="1029517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tel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git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bit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lebucket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t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3A50176-38BF-878D-AF16-C65AAAE2DEB4}"/>
              </a:ext>
            </a:extLst>
          </p:cNvPr>
          <p:cNvSpPr txBox="1"/>
          <p:nvPr/>
        </p:nvSpPr>
        <p:spPr>
          <a:xfrm>
            <a:off x="1414739" y="811010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.fusioncore.nonprod.lz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44E9316-3F84-70BD-DE49-EC7C78886422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4C68C3EA-381C-0186-AAE5-F754F62766A9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194" name="图形 193" descr="女性形象 纯色填充">
              <a:extLst>
                <a:ext uri="{FF2B5EF4-FFF2-40B4-BE49-F238E27FC236}">
                  <a16:creationId xmlns:a16="http://schemas.microsoft.com/office/drawing/2014/main" id="{A0ED9E8B-B43E-69A2-5909-E9213ABA9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195" name="图形 194" descr="男性形象 纯色填充">
              <a:extLst>
                <a:ext uri="{FF2B5EF4-FFF2-40B4-BE49-F238E27FC236}">
                  <a16:creationId xmlns:a16="http://schemas.microsoft.com/office/drawing/2014/main" id="{EC2A5601-383C-AC63-E282-538525CA0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196" name="文本框 195">
            <a:extLst>
              <a:ext uri="{FF2B5EF4-FFF2-40B4-BE49-F238E27FC236}">
                <a16:creationId xmlns:a16="http://schemas.microsoft.com/office/drawing/2014/main" id="{1D5A78D4-6B44-D7C3-812D-F81248D1CB51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483">
            <a:extLst>
              <a:ext uri="{FF2B5EF4-FFF2-40B4-BE49-F238E27FC236}">
                <a16:creationId xmlns:a16="http://schemas.microsoft.com/office/drawing/2014/main" id="{1398BEA6-89AC-2784-959E-4AEB65BD0FBA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8" name="组合 197">
            <a:extLst>
              <a:ext uri="{FF2B5EF4-FFF2-40B4-BE49-F238E27FC236}">
                <a16:creationId xmlns:a16="http://schemas.microsoft.com/office/drawing/2014/main" id="{C2E6111C-8BFF-52F1-DFFC-13678CB06DFC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199" name="图形 485" descr="女性形象 纯色填充">
              <a:extLst>
                <a:ext uri="{FF2B5EF4-FFF2-40B4-BE49-F238E27FC236}">
                  <a16:creationId xmlns:a16="http://schemas.microsoft.com/office/drawing/2014/main" id="{E0CA4F58-3366-AFAA-897A-86708CCB9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0" name="图形 486" descr="男性形象 纯色填充">
              <a:extLst>
                <a:ext uri="{FF2B5EF4-FFF2-40B4-BE49-F238E27FC236}">
                  <a16:creationId xmlns:a16="http://schemas.microsoft.com/office/drawing/2014/main" id="{3189C014-DAB4-D0E3-3154-950708684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1" name="文本框 7">
            <a:extLst>
              <a:ext uri="{FF2B5EF4-FFF2-40B4-BE49-F238E27FC236}">
                <a16:creationId xmlns:a16="http://schemas.microsoft.com/office/drawing/2014/main" id="{B840596E-8466-CE3C-53F9-C3D9DE29D460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340F3B1-49A7-2577-EBBB-0E65E66BC7E7}"/>
              </a:ext>
            </a:extLst>
          </p:cNvPr>
          <p:cNvSpPr txBox="1"/>
          <p:nvPr/>
        </p:nvSpPr>
        <p:spPr>
          <a:xfrm>
            <a:off x="3186472" y="973025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.fusioncore.nonprod.lz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2" name="文本框 201">
            <a:extLst>
              <a:ext uri="{FF2B5EF4-FFF2-40B4-BE49-F238E27FC236}">
                <a16:creationId xmlns:a16="http://schemas.microsoft.com/office/drawing/2014/main" id="{BC60699D-B4D0-262E-177E-6289ACBED422}"/>
              </a:ext>
            </a:extLst>
          </p:cNvPr>
          <p:cNvSpPr txBox="1"/>
          <p:nvPr/>
        </p:nvSpPr>
        <p:spPr>
          <a:xfrm>
            <a:off x="3437327" y="5457331"/>
            <a:ext cx="52763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mi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mid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5" name="文本框 204">
            <a:extLst>
              <a:ext uri="{FF2B5EF4-FFF2-40B4-BE49-F238E27FC236}">
                <a16:creationId xmlns:a16="http://schemas.microsoft.com/office/drawing/2014/main" id="{FA18799F-7219-7FE7-155F-7A0E782C813B}"/>
              </a:ext>
            </a:extLst>
          </p:cNvPr>
          <p:cNvSpPr txBox="1"/>
          <p:nvPr/>
        </p:nvSpPr>
        <p:spPr>
          <a:xfrm>
            <a:off x="3446853" y="4183628"/>
            <a:ext cx="3271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6" name="文本框 205">
            <a:extLst>
              <a:ext uri="{FF2B5EF4-FFF2-40B4-BE49-F238E27FC236}">
                <a16:creationId xmlns:a16="http://schemas.microsoft.com/office/drawing/2014/main" id="{0E24997A-BD5D-A827-E4D3-9A6CB4E69D68}"/>
              </a:ext>
            </a:extLst>
          </p:cNvPr>
          <p:cNvSpPr txBox="1"/>
          <p:nvPr/>
        </p:nvSpPr>
        <p:spPr>
          <a:xfrm>
            <a:off x="3446853" y="5054544"/>
            <a:ext cx="3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3CDCE93C-455B-9402-6B2A-08128CD23BE7}"/>
              </a:ext>
            </a:extLst>
          </p:cNvPr>
          <p:cNvSpPr txBox="1"/>
          <p:nvPr/>
        </p:nvSpPr>
        <p:spPr>
          <a:xfrm>
            <a:off x="3446853" y="5778458"/>
            <a:ext cx="38416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37FA9CE5-2CE1-731D-82C9-DCB6FD056337}"/>
              </a:ext>
            </a:extLst>
          </p:cNvPr>
          <p:cNvSpPr txBox="1"/>
          <p:nvPr/>
        </p:nvSpPr>
        <p:spPr>
          <a:xfrm>
            <a:off x="3446853" y="6047854"/>
            <a:ext cx="38105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770E6DD6-FB4E-1BD0-425F-F9C63DD977E9}"/>
              </a:ext>
            </a:extLst>
          </p:cNvPr>
          <p:cNvSpPr/>
          <p:nvPr/>
        </p:nvSpPr>
        <p:spPr>
          <a:xfrm>
            <a:off x="7773085" y="3706781"/>
            <a:ext cx="1838227" cy="1347837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4" name="文本框 1499">
            <a:extLst>
              <a:ext uri="{FF2B5EF4-FFF2-40B4-BE49-F238E27FC236}">
                <a16:creationId xmlns:a16="http://schemas.microsoft.com/office/drawing/2014/main" id="{6D5D2983-40C1-A1C2-FD8F-693DC46FCE77}"/>
              </a:ext>
            </a:extLst>
          </p:cNvPr>
          <p:cNvSpPr txBox="1"/>
          <p:nvPr/>
        </p:nvSpPr>
        <p:spPr>
          <a:xfrm>
            <a:off x="8045466" y="501110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ure Database for MySQL – Flexible Server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C11C1841-0ED1-6613-92C3-1FCAF658865E}"/>
              </a:ext>
            </a:extLst>
          </p:cNvPr>
          <p:cNvSpPr/>
          <p:nvPr/>
        </p:nvSpPr>
        <p:spPr>
          <a:xfrm>
            <a:off x="7820218" y="3747335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9" name="文本框 1463">
            <a:extLst>
              <a:ext uri="{FF2B5EF4-FFF2-40B4-BE49-F238E27FC236}">
                <a16:creationId xmlns:a16="http://schemas.microsoft.com/office/drawing/2014/main" id="{408CA6F6-6C58-44D8-5307-2E868C10BCF4}"/>
              </a:ext>
            </a:extLst>
          </p:cNvPr>
          <p:cNvSpPr txBox="1"/>
          <p:nvPr/>
        </p:nvSpPr>
        <p:spPr>
          <a:xfrm>
            <a:off x="8062203" y="3695030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5" name="矩形 224">
            <a:extLst>
              <a:ext uri="{FF2B5EF4-FFF2-40B4-BE49-F238E27FC236}">
                <a16:creationId xmlns:a16="http://schemas.microsoft.com/office/drawing/2014/main" id="{96A8B542-44D6-89ED-15F6-D413AA614AED}"/>
              </a:ext>
            </a:extLst>
          </p:cNvPr>
          <p:cNvSpPr/>
          <p:nvPr/>
        </p:nvSpPr>
        <p:spPr>
          <a:xfrm>
            <a:off x="8002870" y="4103696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38" name="图形 1453">
            <a:extLst>
              <a:ext uri="{FF2B5EF4-FFF2-40B4-BE49-F238E27FC236}">
                <a16:creationId xmlns:a16="http://schemas.microsoft.com/office/drawing/2014/main" id="{A667B5F7-1E54-E339-1BD2-F59BF18760F3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8108098" y="4149416"/>
            <a:ext cx="258689" cy="258689"/>
          </a:xfrm>
          <a:prstGeom prst="rect">
            <a:avLst/>
          </a:prstGeom>
        </p:spPr>
      </p:pic>
      <p:sp>
        <p:nvSpPr>
          <p:cNvPr id="239" name="文本框 1459">
            <a:extLst>
              <a:ext uri="{FF2B5EF4-FFF2-40B4-BE49-F238E27FC236}">
                <a16:creationId xmlns:a16="http://schemas.microsoft.com/office/drawing/2014/main" id="{C7D48BDC-2F36-CC45-A87C-79664B934865}"/>
              </a:ext>
            </a:extLst>
          </p:cNvPr>
          <p:cNvSpPr txBox="1"/>
          <p:nvPr/>
        </p:nvSpPr>
        <p:spPr>
          <a:xfrm>
            <a:off x="8027464" y="4103810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0" name="文本框 1460">
            <a:extLst>
              <a:ext uri="{FF2B5EF4-FFF2-40B4-BE49-F238E27FC236}">
                <a16:creationId xmlns:a16="http://schemas.microsoft.com/office/drawing/2014/main" id="{1675B3CA-47B3-7392-B055-B1FE03B0541D}"/>
              </a:ext>
            </a:extLst>
          </p:cNvPr>
          <p:cNvSpPr txBox="1"/>
          <p:nvPr/>
        </p:nvSpPr>
        <p:spPr>
          <a:xfrm>
            <a:off x="7943713" y="3960341"/>
            <a:ext cx="62600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mar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1" name="矩形 240">
            <a:extLst>
              <a:ext uri="{FF2B5EF4-FFF2-40B4-BE49-F238E27FC236}">
                <a16:creationId xmlns:a16="http://schemas.microsoft.com/office/drawing/2014/main" id="{593A0733-C5E4-523A-256B-3B923EF57329}"/>
              </a:ext>
            </a:extLst>
          </p:cNvPr>
          <p:cNvSpPr/>
          <p:nvPr/>
        </p:nvSpPr>
        <p:spPr>
          <a:xfrm>
            <a:off x="8016663" y="4585976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42" name="图片 241">
            <a:extLst>
              <a:ext uri="{FF2B5EF4-FFF2-40B4-BE49-F238E27FC236}">
                <a16:creationId xmlns:a16="http://schemas.microsoft.com/office/drawing/2014/main" id="{C6684B63-362D-E7F1-123A-762B109475E7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8065567" y="4654233"/>
            <a:ext cx="238143" cy="204803"/>
          </a:xfrm>
          <a:prstGeom prst="rect">
            <a:avLst/>
          </a:prstGeom>
        </p:spPr>
      </p:pic>
      <p:sp>
        <p:nvSpPr>
          <p:cNvPr id="243" name="文本框 1467">
            <a:extLst>
              <a:ext uri="{FF2B5EF4-FFF2-40B4-BE49-F238E27FC236}">
                <a16:creationId xmlns:a16="http://schemas.microsoft.com/office/drawing/2014/main" id="{F9D09669-4E8D-7B6D-CAE2-361778A9B504}"/>
              </a:ext>
            </a:extLst>
          </p:cNvPr>
          <p:cNvSpPr txBox="1"/>
          <p:nvPr/>
        </p:nvSpPr>
        <p:spPr>
          <a:xfrm>
            <a:off x="8015181" y="4593746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4" name="文本框 1468">
            <a:extLst>
              <a:ext uri="{FF2B5EF4-FFF2-40B4-BE49-F238E27FC236}">
                <a16:creationId xmlns:a16="http://schemas.microsoft.com/office/drawing/2014/main" id="{2FB86646-8C62-0403-3025-660EBFAF8939}"/>
              </a:ext>
            </a:extLst>
          </p:cNvPr>
          <p:cNvSpPr txBox="1"/>
          <p:nvPr/>
        </p:nvSpPr>
        <p:spPr>
          <a:xfrm>
            <a:off x="8298707" y="4695458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5" name="下箭头 244">
            <a:extLst>
              <a:ext uri="{FF2B5EF4-FFF2-40B4-BE49-F238E27FC236}">
                <a16:creationId xmlns:a16="http://schemas.microsoft.com/office/drawing/2014/main" id="{06A34D3F-C2D7-B9EC-B3BD-E24136724536}"/>
              </a:ext>
            </a:extLst>
          </p:cNvPr>
          <p:cNvSpPr/>
          <p:nvPr/>
        </p:nvSpPr>
        <p:spPr>
          <a:xfrm>
            <a:off x="8170708" y="4435209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DA226275-1DCC-BC7F-3930-CC0CF528411F}"/>
              </a:ext>
            </a:extLst>
          </p:cNvPr>
          <p:cNvSpPr/>
          <p:nvPr/>
        </p:nvSpPr>
        <p:spPr>
          <a:xfrm>
            <a:off x="7881493" y="3907208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7" name="矩形 246">
            <a:extLst>
              <a:ext uri="{FF2B5EF4-FFF2-40B4-BE49-F238E27FC236}">
                <a16:creationId xmlns:a16="http://schemas.microsoft.com/office/drawing/2014/main" id="{742CE100-9A11-FDFC-6B2F-A23F218FF618}"/>
              </a:ext>
            </a:extLst>
          </p:cNvPr>
          <p:cNvSpPr/>
          <p:nvPr/>
        </p:nvSpPr>
        <p:spPr>
          <a:xfrm>
            <a:off x="8722162" y="3754111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7" name="文本框 201">
            <a:extLst>
              <a:ext uri="{FF2B5EF4-FFF2-40B4-BE49-F238E27FC236}">
                <a16:creationId xmlns:a16="http://schemas.microsoft.com/office/drawing/2014/main" id="{8C32A586-E98A-C3EB-30CA-13D7C9021438}"/>
              </a:ext>
            </a:extLst>
          </p:cNvPr>
          <p:cNvSpPr txBox="1"/>
          <p:nvPr/>
        </p:nvSpPr>
        <p:spPr>
          <a:xfrm>
            <a:off x="8964147" y="3701806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9577DF22-9756-3CB0-5D17-B55D94390C71}"/>
              </a:ext>
            </a:extLst>
          </p:cNvPr>
          <p:cNvSpPr/>
          <p:nvPr/>
        </p:nvSpPr>
        <p:spPr>
          <a:xfrm>
            <a:off x="8904814" y="4110472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76" name="图形 205">
            <a:extLst>
              <a:ext uri="{FF2B5EF4-FFF2-40B4-BE49-F238E27FC236}">
                <a16:creationId xmlns:a16="http://schemas.microsoft.com/office/drawing/2014/main" id="{4636FD30-8773-1DDD-0411-61376BC65495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010042" y="4156192"/>
            <a:ext cx="258689" cy="258689"/>
          </a:xfrm>
          <a:prstGeom prst="rect">
            <a:avLst/>
          </a:prstGeom>
        </p:spPr>
      </p:pic>
      <p:sp>
        <p:nvSpPr>
          <p:cNvPr id="297" name="文本框 207">
            <a:extLst>
              <a:ext uri="{FF2B5EF4-FFF2-40B4-BE49-F238E27FC236}">
                <a16:creationId xmlns:a16="http://schemas.microsoft.com/office/drawing/2014/main" id="{A57DF62E-74D1-F21B-7560-ABF7C4B02F6B}"/>
              </a:ext>
            </a:extLst>
          </p:cNvPr>
          <p:cNvSpPr txBox="1"/>
          <p:nvPr/>
        </p:nvSpPr>
        <p:spPr>
          <a:xfrm>
            <a:off x="8929408" y="411058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5" name="文本框 208">
            <a:extLst>
              <a:ext uri="{FF2B5EF4-FFF2-40B4-BE49-F238E27FC236}">
                <a16:creationId xmlns:a16="http://schemas.microsoft.com/office/drawing/2014/main" id="{94D4360F-7C38-F126-1B20-7BA416B5ABFB}"/>
              </a:ext>
            </a:extLst>
          </p:cNvPr>
          <p:cNvSpPr txBox="1"/>
          <p:nvPr/>
        </p:nvSpPr>
        <p:spPr>
          <a:xfrm>
            <a:off x="8802059" y="3962387"/>
            <a:ext cx="694976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6" name="矩形 315">
            <a:extLst>
              <a:ext uri="{FF2B5EF4-FFF2-40B4-BE49-F238E27FC236}">
                <a16:creationId xmlns:a16="http://schemas.microsoft.com/office/drawing/2014/main" id="{B5E51EE0-6A4B-C12C-AB49-C3FE3090B288}"/>
              </a:ext>
            </a:extLst>
          </p:cNvPr>
          <p:cNvSpPr/>
          <p:nvPr/>
        </p:nvSpPr>
        <p:spPr>
          <a:xfrm>
            <a:off x="8918607" y="4592752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17" name="图片 316">
            <a:extLst>
              <a:ext uri="{FF2B5EF4-FFF2-40B4-BE49-F238E27FC236}">
                <a16:creationId xmlns:a16="http://schemas.microsoft.com/office/drawing/2014/main" id="{D88FD17B-6568-1360-25CB-CFD43E584405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8967511" y="4661009"/>
            <a:ext cx="238143" cy="204803"/>
          </a:xfrm>
          <a:prstGeom prst="rect">
            <a:avLst/>
          </a:prstGeom>
        </p:spPr>
      </p:pic>
      <p:sp>
        <p:nvSpPr>
          <p:cNvPr id="318" name="文本框 217">
            <a:extLst>
              <a:ext uri="{FF2B5EF4-FFF2-40B4-BE49-F238E27FC236}">
                <a16:creationId xmlns:a16="http://schemas.microsoft.com/office/drawing/2014/main" id="{9A051239-DE57-410E-0A02-D7A35A55BEB3}"/>
              </a:ext>
            </a:extLst>
          </p:cNvPr>
          <p:cNvSpPr txBox="1"/>
          <p:nvPr/>
        </p:nvSpPr>
        <p:spPr>
          <a:xfrm>
            <a:off x="8917125" y="4600522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9" name="文本框 218">
            <a:extLst>
              <a:ext uri="{FF2B5EF4-FFF2-40B4-BE49-F238E27FC236}">
                <a16:creationId xmlns:a16="http://schemas.microsoft.com/office/drawing/2014/main" id="{31DCE71F-9EA8-5255-6D21-EB60779D32E3}"/>
              </a:ext>
            </a:extLst>
          </p:cNvPr>
          <p:cNvSpPr txBox="1"/>
          <p:nvPr/>
        </p:nvSpPr>
        <p:spPr>
          <a:xfrm>
            <a:off x="9200651" y="4702234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下箭头 319">
            <a:extLst>
              <a:ext uri="{FF2B5EF4-FFF2-40B4-BE49-F238E27FC236}">
                <a16:creationId xmlns:a16="http://schemas.microsoft.com/office/drawing/2014/main" id="{6A4805EE-2C06-70B8-1C3E-BD03950120DC}"/>
              </a:ext>
            </a:extLst>
          </p:cNvPr>
          <p:cNvSpPr/>
          <p:nvPr/>
        </p:nvSpPr>
        <p:spPr>
          <a:xfrm>
            <a:off x="9072652" y="4441985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1" name="矩形 320">
            <a:extLst>
              <a:ext uri="{FF2B5EF4-FFF2-40B4-BE49-F238E27FC236}">
                <a16:creationId xmlns:a16="http://schemas.microsoft.com/office/drawing/2014/main" id="{AD634CF5-79CF-7779-EAD6-02E951CE7FF6}"/>
              </a:ext>
            </a:extLst>
          </p:cNvPr>
          <p:cNvSpPr/>
          <p:nvPr/>
        </p:nvSpPr>
        <p:spPr>
          <a:xfrm>
            <a:off x="8783437" y="3913984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4" name="下箭头 323">
            <a:extLst>
              <a:ext uri="{FF2B5EF4-FFF2-40B4-BE49-F238E27FC236}">
                <a16:creationId xmlns:a16="http://schemas.microsoft.com/office/drawing/2014/main" id="{176DE698-8520-DEF4-7759-52F5EAE4EACC}"/>
              </a:ext>
            </a:extLst>
          </p:cNvPr>
          <p:cNvSpPr/>
          <p:nvPr/>
        </p:nvSpPr>
        <p:spPr>
          <a:xfrm rot="16200000">
            <a:off x="8656977" y="4560197"/>
            <a:ext cx="126410" cy="390333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5" name="文本框 240">
            <a:extLst>
              <a:ext uri="{FF2B5EF4-FFF2-40B4-BE49-F238E27FC236}">
                <a16:creationId xmlns:a16="http://schemas.microsoft.com/office/drawing/2014/main" id="{A02B1FF8-C55F-5B47-DEF4-43F8994E48CC}"/>
              </a:ext>
            </a:extLst>
          </p:cNvPr>
          <p:cNvSpPr txBox="1"/>
          <p:nvPr/>
        </p:nvSpPr>
        <p:spPr>
          <a:xfrm>
            <a:off x="8484777" y="4406918"/>
            <a:ext cx="423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dund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plicatio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56" name="肘形连接符 1455">
            <a:extLst>
              <a:ext uri="{FF2B5EF4-FFF2-40B4-BE49-F238E27FC236}">
                <a16:creationId xmlns:a16="http://schemas.microsoft.com/office/drawing/2014/main" id="{EDFAD491-4E80-89DC-58A7-A3BD30B2CDC9}"/>
              </a:ext>
            </a:extLst>
          </p:cNvPr>
          <p:cNvCxnSpPr>
            <a:cxnSpLocks/>
            <a:stCxn id="246" idx="1"/>
            <a:endCxn id="1434" idx="3"/>
          </p:cNvCxnSpPr>
          <p:nvPr/>
        </p:nvCxnSpPr>
        <p:spPr>
          <a:xfrm rot="10800000" flipV="1">
            <a:off x="7255109" y="4415963"/>
            <a:ext cx="626385" cy="1009895"/>
          </a:xfrm>
          <a:prstGeom prst="bentConnector3">
            <a:avLst>
              <a:gd name="adj1" fmla="val 40521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26" name="文本框 325">
            <a:extLst>
              <a:ext uri="{FF2B5EF4-FFF2-40B4-BE49-F238E27FC236}">
                <a16:creationId xmlns:a16="http://schemas.microsoft.com/office/drawing/2014/main" id="{DCF1C81C-FD2E-75DC-56A5-EB39EBD95240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90382863-D077-F4B5-9F5F-2B96B7967C8F}"/>
              </a:ext>
            </a:extLst>
          </p:cNvPr>
          <p:cNvSpPr txBox="1"/>
          <p:nvPr/>
        </p:nvSpPr>
        <p:spPr>
          <a:xfrm>
            <a:off x="7377678" y="3582894"/>
            <a:ext cx="534596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20.125</a:t>
            </a:r>
            <a:endParaRPr lang="zh-SG" altLang="en-US" sz="600" dirty="0"/>
          </a:p>
        </p:txBody>
      </p:sp>
      <p:pic>
        <p:nvPicPr>
          <p:cNvPr id="329" name="图片 328">
            <a:extLst>
              <a:ext uri="{FF2B5EF4-FFF2-40B4-BE49-F238E27FC236}">
                <a16:creationId xmlns:a16="http://schemas.microsoft.com/office/drawing/2014/main" id="{D72F0A40-9CA3-AC6C-B713-8656043EA57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422" y="3569119"/>
            <a:ext cx="233617" cy="226317"/>
          </a:xfrm>
          <a:prstGeom prst="rect">
            <a:avLst/>
          </a:prstGeom>
        </p:spPr>
      </p:pic>
      <p:grpSp>
        <p:nvGrpSpPr>
          <p:cNvPr id="331" name="组合 330">
            <a:extLst>
              <a:ext uri="{FF2B5EF4-FFF2-40B4-BE49-F238E27FC236}">
                <a16:creationId xmlns:a16="http://schemas.microsoft.com/office/drawing/2014/main" id="{E818AD04-2662-CF32-8D08-11D5C42CA3C0}"/>
              </a:ext>
            </a:extLst>
          </p:cNvPr>
          <p:cNvGrpSpPr/>
          <p:nvPr/>
        </p:nvGrpSpPr>
        <p:grpSpPr>
          <a:xfrm>
            <a:off x="4345949" y="4309908"/>
            <a:ext cx="359307" cy="187200"/>
            <a:chOff x="4160938" y="4142367"/>
            <a:chExt cx="359307" cy="187200"/>
          </a:xfrm>
        </p:grpSpPr>
        <p:pic>
          <p:nvPicPr>
            <p:cNvPr id="334" name="图片 333">
              <a:extLst>
                <a:ext uri="{FF2B5EF4-FFF2-40B4-BE49-F238E27FC236}">
                  <a16:creationId xmlns:a16="http://schemas.microsoft.com/office/drawing/2014/main" id="{5A3FE68E-A62C-4A6E-22ED-1CFF1C3F20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35" name="文本框 334">
              <a:extLst>
                <a:ext uri="{FF2B5EF4-FFF2-40B4-BE49-F238E27FC236}">
                  <a16:creationId xmlns:a16="http://schemas.microsoft.com/office/drawing/2014/main" id="{571DCFF1-46C5-F98E-578F-16A7E9015A5F}"/>
                </a:ext>
              </a:extLst>
            </p:cNvPr>
            <p:cNvSpPr txBox="1"/>
            <p:nvPr/>
          </p:nvSpPr>
          <p:spPr>
            <a:xfrm>
              <a:off x="4313176" y="423177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36" name="组合 335">
            <a:extLst>
              <a:ext uri="{FF2B5EF4-FFF2-40B4-BE49-F238E27FC236}">
                <a16:creationId xmlns:a16="http://schemas.microsoft.com/office/drawing/2014/main" id="{63463652-F271-5112-279D-F6F2C1F228E1}"/>
              </a:ext>
            </a:extLst>
          </p:cNvPr>
          <p:cNvGrpSpPr/>
          <p:nvPr/>
        </p:nvGrpSpPr>
        <p:grpSpPr>
          <a:xfrm>
            <a:off x="5348664" y="4320207"/>
            <a:ext cx="362896" cy="187200"/>
            <a:chOff x="4152391" y="4142367"/>
            <a:chExt cx="362896" cy="187200"/>
          </a:xfrm>
        </p:grpSpPr>
        <p:pic>
          <p:nvPicPr>
            <p:cNvPr id="337" name="图片 336">
              <a:extLst>
                <a:ext uri="{FF2B5EF4-FFF2-40B4-BE49-F238E27FC236}">
                  <a16:creationId xmlns:a16="http://schemas.microsoft.com/office/drawing/2014/main" id="{F75CF377-A4C5-89B9-48A9-DD2CF8A7A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39" name="文本框 338">
              <a:extLst>
                <a:ext uri="{FF2B5EF4-FFF2-40B4-BE49-F238E27FC236}">
                  <a16:creationId xmlns:a16="http://schemas.microsoft.com/office/drawing/2014/main" id="{F8BCFC89-4305-93E7-08AE-76989ADD1619}"/>
                </a:ext>
              </a:extLst>
            </p:cNvPr>
            <p:cNvSpPr txBox="1"/>
            <p:nvPr/>
          </p:nvSpPr>
          <p:spPr>
            <a:xfrm>
              <a:off x="4308218" y="420959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41" name="组合 340">
            <a:extLst>
              <a:ext uri="{FF2B5EF4-FFF2-40B4-BE49-F238E27FC236}">
                <a16:creationId xmlns:a16="http://schemas.microsoft.com/office/drawing/2014/main" id="{843D7F89-3ECF-E0D6-760C-EA7C7694D332}"/>
              </a:ext>
            </a:extLst>
          </p:cNvPr>
          <p:cNvGrpSpPr/>
          <p:nvPr/>
        </p:nvGrpSpPr>
        <p:grpSpPr>
          <a:xfrm>
            <a:off x="6394553" y="4313881"/>
            <a:ext cx="351830" cy="187200"/>
            <a:chOff x="4157921" y="4132866"/>
            <a:chExt cx="351830" cy="187200"/>
          </a:xfrm>
        </p:grpSpPr>
        <p:pic>
          <p:nvPicPr>
            <p:cNvPr id="342" name="图片 341">
              <a:extLst>
                <a:ext uri="{FF2B5EF4-FFF2-40B4-BE49-F238E27FC236}">
                  <a16:creationId xmlns:a16="http://schemas.microsoft.com/office/drawing/2014/main" id="{604080C6-42DE-3218-A069-386B82124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43" name="文本框 342">
              <a:extLst>
                <a:ext uri="{FF2B5EF4-FFF2-40B4-BE49-F238E27FC236}">
                  <a16:creationId xmlns:a16="http://schemas.microsoft.com/office/drawing/2014/main" id="{D6456351-7892-3F86-0765-4E97E2DA96CA}"/>
                </a:ext>
              </a:extLst>
            </p:cNvPr>
            <p:cNvSpPr txBox="1"/>
            <p:nvPr/>
          </p:nvSpPr>
          <p:spPr>
            <a:xfrm>
              <a:off x="4302682" y="4218305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363" name="图片 362">
            <a:extLst>
              <a:ext uri="{FF2B5EF4-FFF2-40B4-BE49-F238E27FC236}">
                <a16:creationId xmlns:a16="http://schemas.microsoft.com/office/drawing/2014/main" id="{E811C4FE-F846-BE5C-FEE0-B543E1B4329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5453" y="4163810"/>
            <a:ext cx="233617" cy="226317"/>
          </a:xfrm>
          <a:prstGeom prst="rect">
            <a:avLst/>
          </a:prstGeom>
        </p:spPr>
      </p:pic>
      <p:cxnSp>
        <p:nvCxnSpPr>
          <p:cNvPr id="367" name="肘形连接符 366">
            <a:extLst>
              <a:ext uri="{FF2B5EF4-FFF2-40B4-BE49-F238E27FC236}">
                <a16:creationId xmlns:a16="http://schemas.microsoft.com/office/drawing/2014/main" id="{79FBDD0E-3BCF-D80B-382E-D7B1EA2AED35}"/>
              </a:ext>
            </a:extLst>
          </p:cNvPr>
          <p:cNvCxnSpPr>
            <a:cxnSpLocks/>
            <a:stCxn id="363" idx="3"/>
            <a:endCxn id="370" idx="1"/>
          </p:cNvCxnSpPr>
          <p:nvPr/>
        </p:nvCxnSpPr>
        <p:spPr>
          <a:xfrm>
            <a:off x="2699070" y="4276969"/>
            <a:ext cx="1293763" cy="13509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94" name="文本框 393">
            <a:extLst>
              <a:ext uri="{FF2B5EF4-FFF2-40B4-BE49-F238E27FC236}">
                <a16:creationId xmlns:a16="http://schemas.microsoft.com/office/drawing/2014/main" id="{7D1A9C0D-794D-E3A4-A742-8613A4198CFE}"/>
              </a:ext>
            </a:extLst>
          </p:cNvPr>
          <p:cNvSpPr txBox="1"/>
          <p:nvPr/>
        </p:nvSpPr>
        <p:spPr>
          <a:xfrm>
            <a:off x="2616079" y="3808825"/>
            <a:ext cx="6486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-aks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5" name="文本框 394">
            <a:extLst>
              <a:ext uri="{FF2B5EF4-FFF2-40B4-BE49-F238E27FC236}">
                <a16:creationId xmlns:a16="http://schemas.microsoft.com/office/drawing/2014/main" id="{189AFCCB-D22A-D6E7-2729-1C4827812DAA}"/>
              </a:ext>
            </a:extLst>
          </p:cNvPr>
          <p:cNvSpPr txBox="1"/>
          <p:nvPr/>
        </p:nvSpPr>
        <p:spPr>
          <a:xfrm>
            <a:off x="1944646" y="4319973"/>
            <a:ext cx="12906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1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ks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1" name="组合 400">
            <a:extLst>
              <a:ext uri="{FF2B5EF4-FFF2-40B4-BE49-F238E27FC236}">
                <a16:creationId xmlns:a16="http://schemas.microsoft.com/office/drawing/2014/main" id="{85AC3949-21D5-1B8B-E6CF-D5D1B8607258}"/>
              </a:ext>
            </a:extLst>
          </p:cNvPr>
          <p:cNvGrpSpPr/>
          <p:nvPr/>
        </p:nvGrpSpPr>
        <p:grpSpPr>
          <a:xfrm>
            <a:off x="2122497" y="6069419"/>
            <a:ext cx="496363" cy="269875"/>
            <a:chOff x="3073881" y="4202802"/>
            <a:chExt cx="496363" cy="269875"/>
          </a:xfrm>
        </p:grpSpPr>
        <p:sp>
          <p:nvSpPr>
            <p:cNvPr id="410" name="矩形 409">
              <a:extLst>
                <a:ext uri="{FF2B5EF4-FFF2-40B4-BE49-F238E27FC236}">
                  <a16:creationId xmlns:a16="http://schemas.microsoft.com/office/drawing/2014/main" id="{7AA27A55-83EF-127A-5B61-6BECD313D980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18" name="图片 417">
              <a:extLst>
                <a:ext uri="{FF2B5EF4-FFF2-40B4-BE49-F238E27FC236}">
                  <a16:creationId xmlns:a16="http://schemas.microsoft.com/office/drawing/2014/main" id="{200B36C1-E9D9-439D-B412-C1477E6D5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421" name="图片 420">
              <a:extLst>
                <a:ext uri="{FF2B5EF4-FFF2-40B4-BE49-F238E27FC236}">
                  <a16:creationId xmlns:a16="http://schemas.microsoft.com/office/drawing/2014/main" id="{362E8592-69D4-FB21-A493-02C315BCD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424" name="肘形连接符 423">
              <a:extLst>
                <a:ext uri="{FF2B5EF4-FFF2-40B4-BE49-F238E27FC236}">
                  <a16:creationId xmlns:a16="http://schemas.microsoft.com/office/drawing/2014/main" id="{A1D7E708-71AA-E1A2-9AB9-6723EEEB2552}"/>
                </a:ext>
              </a:extLst>
            </p:cNvPr>
            <p:cNvCxnSpPr>
              <a:cxnSpLocks/>
              <a:stCxn id="418" idx="3"/>
              <a:endCxn id="421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5" name="文本框 1071">
              <a:extLst>
                <a:ext uri="{FF2B5EF4-FFF2-40B4-BE49-F238E27FC236}">
                  <a16:creationId xmlns:a16="http://schemas.microsoft.com/office/drawing/2014/main" id="{9A1C051F-8D11-5E71-9866-73803F57EF40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402" name="图片 401">
            <a:extLst>
              <a:ext uri="{FF2B5EF4-FFF2-40B4-BE49-F238E27FC236}">
                <a16:creationId xmlns:a16="http://schemas.microsoft.com/office/drawing/2014/main" id="{4A08C268-2E8C-7F92-37C0-EC3D34B30C6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1292" y="5627741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文本框 196">
            <a:extLst>
              <a:ext uri="{FF2B5EF4-FFF2-40B4-BE49-F238E27FC236}">
                <a16:creationId xmlns:a16="http://schemas.microsoft.com/office/drawing/2014/main" id="{3F3B2F5A-376E-FABC-43A6-A5745F4020C9}"/>
              </a:ext>
            </a:extLst>
          </p:cNvPr>
          <p:cNvSpPr txBox="1"/>
          <p:nvPr/>
        </p:nvSpPr>
        <p:spPr>
          <a:xfrm>
            <a:off x="2258762" y="636953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SG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25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07" name="肘形连接符 406">
            <a:extLst>
              <a:ext uri="{FF2B5EF4-FFF2-40B4-BE49-F238E27FC236}">
                <a16:creationId xmlns:a16="http://schemas.microsoft.com/office/drawing/2014/main" id="{CCC45EAB-ECBA-2617-94F6-405D81AA5141}"/>
              </a:ext>
            </a:extLst>
          </p:cNvPr>
          <p:cNvCxnSpPr>
            <a:cxnSpLocks/>
            <a:stCxn id="410" idx="3"/>
            <a:endCxn id="402" idx="1"/>
          </p:cNvCxnSpPr>
          <p:nvPr/>
        </p:nvCxnSpPr>
        <p:spPr>
          <a:xfrm flipV="1">
            <a:off x="2618860" y="5721341"/>
            <a:ext cx="242432" cy="483016"/>
          </a:xfrm>
          <a:prstGeom prst="bentConnector3">
            <a:avLst>
              <a:gd name="adj1" fmla="val 2952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08" name="图片 407">
            <a:extLst>
              <a:ext uri="{FF2B5EF4-FFF2-40B4-BE49-F238E27FC236}">
                <a16:creationId xmlns:a16="http://schemas.microsoft.com/office/drawing/2014/main" id="{E3374E85-34D0-1E79-8B8A-C9A0B320111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7642" y="6209353"/>
            <a:ext cx="193239" cy="1872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09" name="肘形连接符 408">
            <a:extLst>
              <a:ext uri="{FF2B5EF4-FFF2-40B4-BE49-F238E27FC236}">
                <a16:creationId xmlns:a16="http://schemas.microsoft.com/office/drawing/2014/main" id="{8B0170C5-0E57-2D7F-60D6-F6FE4A118395}"/>
              </a:ext>
            </a:extLst>
          </p:cNvPr>
          <p:cNvCxnSpPr>
            <a:cxnSpLocks/>
            <a:stCxn id="410" idx="3"/>
            <a:endCxn id="408" idx="1"/>
          </p:cNvCxnSpPr>
          <p:nvPr/>
        </p:nvCxnSpPr>
        <p:spPr>
          <a:xfrm>
            <a:off x="2618860" y="6204357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30" name="肘形连接符 429">
            <a:extLst>
              <a:ext uri="{FF2B5EF4-FFF2-40B4-BE49-F238E27FC236}">
                <a16:creationId xmlns:a16="http://schemas.microsoft.com/office/drawing/2014/main" id="{753F4337-9AB3-2504-7700-C2E0D626DF34}"/>
              </a:ext>
            </a:extLst>
          </p:cNvPr>
          <p:cNvCxnSpPr>
            <a:cxnSpLocks/>
            <a:stCxn id="408" idx="3"/>
            <a:endCxn id="1412" idx="1"/>
          </p:cNvCxnSpPr>
          <p:nvPr/>
        </p:nvCxnSpPr>
        <p:spPr>
          <a:xfrm flipV="1">
            <a:off x="3060881" y="5962590"/>
            <a:ext cx="368318" cy="34036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8ECC85A1-FDAC-08DD-6618-40B909F7C9AB}"/>
              </a:ext>
            </a:extLst>
          </p:cNvPr>
          <p:cNvSpPr txBox="1"/>
          <p:nvPr/>
        </p:nvSpPr>
        <p:spPr>
          <a:xfrm>
            <a:off x="2715471" y="5831188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n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6" name="文本框 435">
            <a:extLst>
              <a:ext uri="{FF2B5EF4-FFF2-40B4-BE49-F238E27FC236}">
                <a16:creationId xmlns:a16="http://schemas.microsoft.com/office/drawing/2014/main" id="{5A2BE2BF-CB42-CE15-AA08-2FC497FF386A}"/>
              </a:ext>
            </a:extLst>
          </p:cNvPr>
          <p:cNvSpPr txBox="1"/>
          <p:nvPr/>
        </p:nvSpPr>
        <p:spPr>
          <a:xfrm>
            <a:off x="2676500" y="6408155"/>
            <a:ext cx="15274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er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n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33066CE-F0F5-11E3-5368-4CDED6ACB72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40894" y="5615296"/>
            <a:ext cx="165805" cy="160624"/>
          </a:xfrm>
          <a:prstGeom prst="rect">
            <a:avLst/>
          </a:prstGeom>
        </p:spPr>
      </p:pic>
      <p:cxnSp>
        <p:nvCxnSpPr>
          <p:cNvPr id="203" name="肘形连接符 202">
            <a:extLst>
              <a:ext uri="{FF2B5EF4-FFF2-40B4-BE49-F238E27FC236}">
                <a16:creationId xmlns:a16="http://schemas.microsoft.com/office/drawing/2014/main" id="{C59E2D83-EB51-84C6-F6F1-6E037C624F6D}"/>
              </a:ext>
            </a:extLst>
          </p:cNvPr>
          <p:cNvCxnSpPr>
            <a:cxnSpLocks/>
            <a:stCxn id="6" idx="1"/>
            <a:endCxn id="1238" idx="3"/>
          </p:cNvCxnSpPr>
          <p:nvPr/>
        </p:nvCxnSpPr>
        <p:spPr>
          <a:xfrm rot="10800000" flipV="1">
            <a:off x="6723342" y="5695607"/>
            <a:ext cx="217553" cy="701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肘形连接符 214">
            <a:extLst>
              <a:ext uri="{FF2B5EF4-FFF2-40B4-BE49-F238E27FC236}">
                <a16:creationId xmlns:a16="http://schemas.microsoft.com/office/drawing/2014/main" id="{CC199AD1-2D77-1BCA-0063-5BF6437F08D2}"/>
              </a:ext>
            </a:extLst>
          </p:cNvPr>
          <p:cNvCxnSpPr>
            <a:cxnSpLocks/>
            <a:stCxn id="1139" idx="0"/>
            <a:endCxn id="6" idx="3"/>
          </p:cNvCxnSpPr>
          <p:nvPr/>
        </p:nvCxnSpPr>
        <p:spPr>
          <a:xfrm rot="5400000" flipH="1" flipV="1">
            <a:off x="6165707" y="5688758"/>
            <a:ext cx="934141" cy="947843"/>
          </a:xfrm>
          <a:prstGeom prst="bentConnector4">
            <a:avLst>
              <a:gd name="adj1" fmla="val 6954"/>
              <a:gd name="adj2" fmla="val 124118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文本框 220">
            <a:extLst>
              <a:ext uri="{FF2B5EF4-FFF2-40B4-BE49-F238E27FC236}">
                <a16:creationId xmlns:a16="http://schemas.microsoft.com/office/drawing/2014/main" id="{19ABC77A-3108-2118-3CA1-A27A0CDBE88A}"/>
              </a:ext>
            </a:extLst>
          </p:cNvPr>
          <p:cNvSpPr txBox="1"/>
          <p:nvPr/>
        </p:nvSpPr>
        <p:spPr>
          <a:xfrm>
            <a:off x="7314951" y="5702151"/>
            <a:ext cx="44922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8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fka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kafka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ks-api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0" name="圆角矩形 209">
            <a:extLst>
              <a:ext uri="{FF2B5EF4-FFF2-40B4-BE49-F238E27FC236}">
                <a16:creationId xmlns:a16="http://schemas.microsoft.com/office/drawing/2014/main" id="{AD12F956-EADB-05DF-933C-A4E269847E32}"/>
              </a:ext>
            </a:extLst>
          </p:cNvPr>
          <p:cNvSpPr/>
          <p:nvPr/>
        </p:nvSpPr>
        <p:spPr>
          <a:xfrm>
            <a:off x="3992832" y="4561803"/>
            <a:ext cx="2865168" cy="210392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41" name="直线连接符 1440">
            <a:extLst>
              <a:ext uri="{FF2B5EF4-FFF2-40B4-BE49-F238E27FC236}">
                <a16:creationId xmlns:a16="http://schemas.microsoft.com/office/drawing/2014/main" id="{6A8F1E56-9944-FBEC-A1FE-6BBEA1A3D4D1}"/>
              </a:ext>
            </a:extLst>
          </p:cNvPr>
          <p:cNvCxnSpPr>
            <a:cxnSpLocks/>
          </p:cNvCxnSpPr>
          <p:nvPr/>
        </p:nvCxnSpPr>
        <p:spPr>
          <a:xfrm>
            <a:off x="4855330" y="3805336"/>
            <a:ext cx="0" cy="2682550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9" name="直线连接符 1438">
            <a:extLst>
              <a:ext uri="{FF2B5EF4-FFF2-40B4-BE49-F238E27FC236}">
                <a16:creationId xmlns:a16="http://schemas.microsoft.com/office/drawing/2014/main" id="{E920CDDD-A73F-EED3-E4B9-0F274811B90D}"/>
              </a:ext>
            </a:extLst>
          </p:cNvPr>
          <p:cNvCxnSpPr>
            <a:cxnSpLocks/>
          </p:cNvCxnSpPr>
          <p:nvPr/>
        </p:nvCxnSpPr>
        <p:spPr>
          <a:xfrm>
            <a:off x="5964661" y="3850364"/>
            <a:ext cx="0" cy="260514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0" name="直线连接符 1439">
            <a:extLst>
              <a:ext uri="{FF2B5EF4-FFF2-40B4-BE49-F238E27FC236}">
                <a16:creationId xmlns:a16="http://schemas.microsoft.com/office/drawing/2014/main" id="{7399EDB9-E114-9F45-0007-F4B17F361A45}"/>
              </a:ext>
            </a:extLst>
          </p:cNvPr>
          <p:cNvCxnSpPr>
            <a:cxnSpLocks/>
          </p:cNvCxnSpPr>
          <p:nvPr/>
        </p:nvCxnSpPr>
        <p:spPr>
          <a:xfrm>
            <a:off x="4946652" y="3805336"/>
            <a:ext cx="0" cy="2674633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7" name="直线连接符 1436">
            <a:extLst>
              <a:ext uri="{FF2B5EF4-FFF2-40B4-BE49-F238E27FC236}">
                <a16:creationId xmlns:a16="http://schemas.microsoft.com/office/drawing/2014/main" id="{DA685680-F13C-602F-915F-D387CD96CDBE}"/>
              </a:ext>
            </a:extLst>
          </p:cNvPr>
          <p:cNvCxnSpPr>
            <a:cxnSpLocks/>
          </p:cNvCxnSpPr>
          <p:nvPr/>
        </p:nvCxnSpPr>
        <p:spPr>
          <a:xfrm>
            <a:off x="6043336" y="3805336"/>
            <a:ext cx="0" cy="268452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CCBACD04-1F9C-2C5B-18E8-66E5146411A4}"/>
              </a:ext>
            </a:extLst>
          </p:cNvPr>
          <p:cNvGrpSpPr/>
          <p:nvPr/>
        </p:nvGrpSpPr>
        <p:grpSpPr>
          <a:xfrm>
            <a:off x="5343975" y="4580104"/>
            <a:ext cx="355483" cy="187200"/>
            <a:chOff x="5188496" y="4120154"/>
            <a:chExt cx="355483" cy="187200"/>
          </a:xfrm>
        </p:grpSpPr>
        <p:pic>
          <p:nvPicPr>
            <p:cNvPr id="217" name="图片 216">
              <a:extLst>
                <a:ext uri="{FF2B5EF4-FFF2-40B4-BE49-F238E27FC236}">
                  <a16:creationId xmlns:a16="http://schemas.microsoft.com/office/drawing/2014/main" id="{C50D42F5-39A7-F988-D80D-580263F48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188496" y="4120154"/>
              <a:ext cx="193240" cy="187200"/>
            </a:xfrm>
            <a:prstGeom prst="rect">
              <a:avLst/>
            </a:prstGeom>
          </p:spPr>
        </p:pic>
        <p:sp>
          <p:nvSpPr>
            <p:cNvPr id="220" name="文本框 219">
              <a:extLst>
                <a:ext uri="{FF2B5EF4-FFF2-40B4-BE49-F238E27FC236}">
                  <a16:creationId xmlns:a16="http://schemas.microsoft.com/office/drawing/2014/main" id="{2F8F70A4-DA51-CC1D-281A-BD005BA99F22}"/>
                </a:ext>
              </a:extLst>
            </p:cNvPr>
            <p:cNvSpPr txBox="1"/>
            <p:nvPr/>
          </p:nvSpPr>
          <p:spPr>
            <a:xfrm>
              <a:off x="5336910" y="4204047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31" name="图片 230">
            <a:extLst>
              <a:ext uri="{FF2B5EF4-FFF2-40B4-BE49-F238E27FC236}">
                <a16:creationId xmlns:a16="http://schemas.microsoft.com/office/drawing/2014/main" id="{781608A8-EB61-78CF-88A7-015BA9AA79D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4939" y="4549780"/>
            <a:ext cx="233617" cy="226317"/>
          </a:xfrm>
          <a:prstGeom prst="rect">
            <a:avLst/>
          </a:prstGeom>
        </p:spPr>
      </p:pic>
      <p:sp>
        <p:nvSpPr>
          <p:cNvPr id="232" name="文本框 231">
            <a:extLst>
              <a:ext uri="{FF2B5EF4-FFF2-40B4-BE49-F238E27FC236}">
                <a16:creationId xmlns:a16="http://schemas.microsoft.com/office/drawing/2014/main" id="{9E076979-83CB-ADA9-0D20-6FDB2762544F}"/>
              </a:ext>
            </a:extLst>
          </p:cNvPr>
          <p:cNvSpPr txBox="1"/>
          <p:nvPr/>
        </p:nvSpPr>
        <p:spPr>
          <a:xfrm>
            <a:off x="2238145" y="4729781"/>
            <a:ext cx="10678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IDM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kumimoji="1" lang="en-US" altLang="zh-SG" sz="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-ak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33" name="肘形连接符 232">
            <a:extLst>
              <a:ext uri="{FF2B5EF4-FFF2-40B4-BE49-F238E27FC236}">
                <a16:creationId xmlns:a16="http://schemas.microsoft.com/office/drawing/2014/main" id="{C36FB26B-203B-5357-6943-0832127E8586}"/>
              </a:ext>
            </a:extLst>
          </p:cNvPr>
          <p:cNvCxnSpPr>
            <a:cxnSpLocks/>
            <a:stCxn id="231" idx="3"/>
            <a:endCxn id="210" idx="1"/>
          </p:cNvCxnSpPr>
          <p:nvPr/>
        </p:nvCxnSpPr>
        <p:spPr>
          <a:xfrm>
            <a:off x="2698556" y="4662939"/>
            <a:ext cx="1294276" cy="406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6" name="肘形连接符 235">
            <a:extLst>
              <a:ext uri="{FF2B5EF4-FFF2-40B4-BE49-F238E27FC236}">
                <a16:creationId xmlns:a16="http://schemas.microsoft.com/office/drawing/2014/main" id="{17D7509B-AA99-8FCE-401D-77EE6C82C195}"/>
              </a:ext>
            </a:extLst>
          </p:cNvPr>
          <p:cNvCxnSpPr>
            <a:cxnSpLocks/>
            <a:stCxn id="7" idx="2"/>
            <a:endCxn id="231" idx="1"/>
          </p:cNvCxnSpPr>
          <p:nvPr/>
        </p:nvCxnSpPr>
        <p:spPr>
          <a:xfrm flipV="1">
            <a:off x="1996510" y="4662939"/>
            <a:ext cx="468429" cy="68552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223" name="图片 222">
            <a:extLst>
              <a:ext uri="{FF2B5EF4-FFF2-40B4-BE49-F238E27FC236}">
                <a16:creationId xmlns:a16="http://schemas.microsoft.com/office/drawing/2014/main" id="{0F893E1D-DAC1-BF5F-7664-0C5B04D3FF2F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000047"/>
            <a:ext cx="180042" cy="174416"/>
          </a:xfrm>
          <a:prstGeom prst="rect">
            <a:avLst/>
          </a:prstGeom>
        </p:spPr>
      </p:pic>
      <p:pic>
        <p:nvPicPr>
          <p:cNvPr id="224" name="图片 223">
            <a:extLst>
              <a:ext uri="{FF2B5EF4-FFF2-40B4-BE49-F238E27FC236}">
                <a16:creationId xmlns:a16="http://schemas.microsoft.com/office/drawing/2014/main" id="{D0501DD4-F687-CEA7-29B0-1748C3ECA1F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199391"/>
            <a:ext cx="180042" cy="174416"/>
          </a:xfrm>
          <a:prstGeom prst="rect">
            <a:avLst/>
          </a:prstGeom>
        </p:spPr>
      </p:pic>
      <p:pic>
        <p:nvPicPr>
          <p:cNvPr id="226" name="图片 225">
            <a:extLst>
              <a:ext uri="{FF2B5EF4-FFF2-40B4-BE49-F238E27FC236}">
                <a16:creationId xmlns:a16="http://schemas.microsoft.com/office/drawing/2014/main" id="{626C367C-F320-C04C-5CB1-359A0971DD9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390952"/>
            <a:ext cx="180042" cy="174416"/>
          </a:xfrm>
          <a:prstGeom prst="rect">
            <a:avLst/>
          </a:prstGeom>
        </p:spPr>
      </p:pic>
      <p:cxnSp>
        <p:nvCxnSpPr>
          <p:cNvPr id="227" name="肘形连接符 226">
            <a:extLst>
              <a:ext uri="{FF2B5EF4-FFF2-40B4-BE49-F238E27FC236}">
                <a16:creationId xmlns:a16="http://schemas.microsoft.com/office/drawing/2014/main" id="{6CF19B8E-217A-47E6-39BE-EB6EBA7A6998}"/>
              </a:ext>
            </a:extLst>
          </p:cNvPr>
          <p:cNvCxnSpPr>
            <a:cxnSpLocks/>
            <a:stCxn id="223" idx="3"/>
            <a:endCxn id="1332" idx="1"/>
          </p:cNvCxnSpPr>
          <p:nvPr/>
        </p:nvCxnSpPr>
        <p:spPr>
          <a:xfrm>
            <a:off x="2796094" y="5087255"/>
            <a:ext cx="633105" cy="3007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  <p:cxnSp>
        <p:nvCxnSpPr>
          <p:cNvPr id="230" name="肘形连接符 229">
            <a:extLst>
              <a:ext uri="{FF2B5EF4-FFF2-40B4-BE49-F238E27FC236}">
                <a16:creationId xmlns:a16="http://schemas.microsoft.com/office/drawing/2014/main" id="{39B9758F-529E-A0EC-9A71-00876D1073CC}"/>
              </a:ext>
            </a:extLst>
          </p:cNvPr>
          <p:cNvCxnSpPr>
            <a:cxnSpLocks/>
            <a:stCxn id="226" idx="3"/>
            <a:endCxn id="1332" idx="1"/>
          </p:cNvCxnSpPr>
          <p:nvPr/>
        </p:nvCxnSpPr>
        <p:spPr>
          <a:xfrm flipV="1">
            <a:off x="2796094" y="5387988"/>
            <a:ext cx="633105" cy="9017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  <p:cxnSp>
        <p:nvCxnSpPr>
          <p:cNvPr id="237" name="肘形连接符 236">
            <a:extLst>
              <a:ext uri="{FF2B5EF4-FFF2-40B4-BE49-F238E27FC236}">
                <a16:creationId xmlns:a16="http://schemas.microsoft.com/office/drawing/2014/main" id="{9550E0D4-8EBC-0DDF-5493-2D1BF5638065}"/>
              </a:ext>
            </a:extLst>
          </p:cNvPr>
          <p:cNvCxnSpPr>
            <a:cxnSpLocks/>
            <a:stCxn id="224" idx="3"/>
            <a:endCxn id="1332" idx="1"/>
          </p:cNvCxnSpPr>
          <p:nvPr/>
        </p:nvCxnSpPr>
        <p:spPr>
          <a:xfrm>
            <a:off x="2796094" y="5286599"/>
            <a:ext cx="633105" cy="10138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  <p:sp>
        <p:nvSpPr>
          <p:cNvPr id="328" name="文本框 327">
            <a:extLst>
              <a:ext uri="{FF2B5EF4-FFF2-40B4-BE49-F238E27FC236}">
                <a16:creationId xmlns:a16="http://schemas.microsoft.com/office/drawing/2014/main" id="{9FA72205-4868-8C35-9085-32588425370C}"/>
              </a:ext>
            </a:extLst>
          </p:cNvPr>
          <p:cNvSpPr txBox="1"/>
          <p:nvPr/>
        </p:nvSpPr>
        <p:spPr>
          <a:xfrm>
            <a:off x="2738235" y="5091468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S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7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6" name="文本框 345">
            <a:extLst>
              <a:ext uri="{FF2B5EF4-FFF2-40B4-BE49-F238E27FC236}">
                <a16:creationId xmlns:a16="http://schemas.microsoft.com/office/drawing/2014/main" id="{56C944BA-B91C-0C17-30BB-B169D56A68D5}"/>
              </a:ext>
            </a:extLst>
          </p:cNvPr>
          <p:cNvSpPr txBox="1"/>
          <p:nvPr/>
        </p:nvSpPr>
        <p:spPr>
          <a:xfrm>
            <a:off x="2746232" y="5292224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K1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9" name="文本框 348">
            <a:extLst>
              <a:ext uri="{FF2B5EF4-FFF2-40B4-BE49-F238E27FC236}">
                <a16:creationId xmlns:a16="http://schemas.microsoft.com/office/drawing/2014/main" id="{6E1F8B54-6312-F167-A56A-46DE82213890}"/>
              </a:ext>
            </a:extLst>
          </p:cNvPr>
          <p:cNvSpPr txBox="1"/>
          <p:nvPr/>
        </p:nvSpPr>
        <p:spPr>
          <a:xfrm>
            <a:off x="2738235" y="5483532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K2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5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4093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5D263A-5DE0-77A3-F62B-5965157F6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55576978-8BAC-9DF8-B68C-714F337643E0}"/>
              </a:ext>
            </a:extLst>
          </p:cNvPr>
          <p:cNvSpPr/>
          <p:nvPr/>
        </p:nvSpPr>
        <p:spPr>
          <a:xfrm rot="16200000">
            <a:off x="-291088" y="1414283"/>
            <a:ext cx="2214070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998E83A8-EA35-9517-95FF-BDF7C3BBF278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F753238D-3BD4-1C79-9D65-71ECD1E944B7}"/>
              </a:ext>
            </a:extLst>
          </p:cNvPr>
          <p:cNvSpPr/>
          <p:nvPr/>
        </p:nvSpPr>
        <p:spPr>
          <a:xfrm>
            <a:off x="1559599" y="3527206"/>
            <a:ext cx="8687755" cy="3262764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kumimoji="1" lang="en-US" altLang="zh-SG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</a:t>
            </a:r>
            <a:r>
              <a:rPr kumimoji="1" lang="en-US" altLang="zh-CN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8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8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E4FD46F4-DE16-F30A-E595-0A60625FF361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65EDBF26-DA0B-59F7-0CD4-490DC8268C9E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B3C34309-BE2C-C584-8F6D-497935B4F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925593B3-A48C-816A-44F8-0859DFAA2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278A3E98-49A4-37EA-345E-1D320DCDF39C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A4AD78E8-6274-699A-4DC5-DFE57D6914AA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5758137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lang="en-US" altLang="zh-CN" sz="1500" dirty="0">
                <a:solidFill>
                  <a:srgbClr val="316CE5"/>
                </a:solidFill>
                <a:latin typeface="DIN Round Offc Pro"/>
                <a:cs typeface="Helvetica Neue"/>
              </a:rPr>
              <a:t>Prod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F25918DD-8096-66CF-7DE6-D1091B11E55A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B75C552D-2116-7C0F-D262-7C4DE421AAC7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10321CD8-2F6F-5111-2E12-E3474F83C51E}"/>
              </a:ext>
            </a:extLst>
          </p:cNvPr>
          <p:cNvSpPr/>
          <p:nvPr/>
        </p:nvSpPr>
        <p:spPr>
          <a:xfrm>
            <a:off x="10639109" y="175021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9C4DCFA-8A99-F230-5244-850DC7DBD1BD}"/>
              </a:ext>
            </a:extLst>
          </p:cNvPr>
          <p:cNvSpPr/>
          <p:nvPr/>
        </p:nvSpPr>
        <p:spPr>
          <a:xfrm>
            <a:off x="10639383" y="191056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</a:t>
            </a:r>
            <a:r>
              <a:rPr kumimoji="1" lang="en-US" altLang="zh-SG" sz="5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64508687-720C-E370-29DC-437C324465BF}"/>
              </a:ext>
            </a:extLst>
          </p:cNvPr>
          <p:cNvSpPr/>
          <p:nvPr/>
        </p:nvSpPr>
        <p:spPr>
          <a:xfrm>
            <a:off x="10635509" y="207447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765C929E-1155-E9EC-ACFB-C0A341D17FDB}"/>
              </a:ext>
            </a:extLst>
          </p:cNvPr>
          <p:cNvSpPr/>
          <p:nvPr/>
        </p:nvSpPr>
        <p:spPr>
          <a:xfrm>
            <a:off x="11683452" y="2054627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DD8B6764-9E82-6FA7-C177-1641228354BC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37478"/>
            <a:ext cx="176743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130D6808-41D1-208A-4EC1-59765F28A094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10400221-CC67-B287-57BA-B7895BB4C025}"/>
              </a:ext>
            </a:extLst>
          </p:cNvPr>
          <p:cNvSpPr/>
          <p:nvPr/>
        </p:nvSpPr>
        <p:spPr>
          <a:xfrm>
            <a:off x="10636100" y="158986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78EDF600-1AEA-E759-08D8-1B005D37BF65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DC1A7267-DFE5-D49C-1242-A03844A1F4FB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E5BB2C23-26BB-02AE-8404-AF388A39B09E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8FFFD151-B811-9FAB-3E2D-84408CED18C5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493C80E6-F342-D37B-9F0B-1EC11877B9D4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A5AABAD9-FBA3-C543-BE3D-B39B45BB866F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56B96924-96E8-8C91-6CA1-6582EA5D1731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77124638-E955-5753-3516-A70A599D31C2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B6D1C1BC-226A-3A21-5786-B35D9FD15F04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FEFAD2CF-469A-0CBC-0D6B-083D1E3CF0D8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07C95B35-3ED4-927D-5171-FB638708602B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DA14E69A-C3CD-6859-43D5-47E4F91C5C49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A523C077-D780-7DC8-7654-6A0493F84C3D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C10C9CBF-7573-B9B5-F43E-8DFBCD472EC0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42070954-E489-03B0-B0F7-6E4A9617AF1B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A972E1EB-A645-5553-815B-1D669E9AF65B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52861"/>
            <a:ext cx="654782" cy="4846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9212C9FB-3E3E-3826-06A1-E047CC88AF0D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13215"/>
            <a:ext cx="657791" cy="3242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43A147D6-BFEF-B596-B81A-348B08F43B27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73569"/>
            <a:ext cx="658065" cy="16390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1EB612B4-8830-0D5F-3C0F-A51C6D28EF7B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>
            <a:off x="9981319" y="2137478"/>
            <a:ext cx="654191" cy="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2F6C837C-9507-124C-5A0C-73EE2190886C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16BEEFA8-F753-7D62-0947-D94F8465CCD5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CFC637D0-F409-9008-539C-D836D152B300}"/>
              </a:ext>
            </a:extLst>
          </p:cNvPr>
          <p:cNvCxnSpPr>
            <a:cxnSpLocks/>
            <a:endCxn id="4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0574868F-8106-2653-9E58-50318C706249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6BDD65DC-6E22-6612-40E6-098080A7291D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DFA6C01F-01C8-CB6B-00E1-45F5EA5512AF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CA504032-B6C7-7874-9EA9-0F6D75288784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08CEF262-6AC6-03D7-54F3-A3DAD348D52B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411A8D0C-EE9A-E82B-8316-1E803705FD28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ACF2C003-95C2-7237-928A-F6A2FD0075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66AF2EDA-6D54-E5C4-5AA8-420A0ACD98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9DC8DD76-B2BD-514A-DBE3-A6791C4CE891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B7885818-008B-0315-471C-F03A058B7BC7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198553E1-788B-6D05-D6AD-0BA9381B2675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579F2D93-E467-B05A-AF16-728FBAE7CF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C99287CD-3169-C7AA-2BB9-7C4FBDBE5C87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3757F347-3CEB-F50C-3A33-9EE578D02DE5}"/>
              </a:ext>
            </a:extLst>
          </p:cNvPr>
          <p:cNvSpPr/>
          <p:nvPr/>
        </p:nvSpPr>
        <p:spPr>
          <a:xfrm>
            <a:off x="10636099" y="2235187"/>
            <a:ext cx="870020" cy="19904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AE025194-4004-31DE-27AF-ACE51F59DEA9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972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F62A7CB4-9F15-C9BF-9BED-3580508C0871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F3758BA7-2C59-D3F9-1E5B-F49F38080890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84" name="矩形 383">
            <a:extLst>
              <a:ext uri="{FF2B5EF4-FFF2-40B4-BE49-F238E27FC236}">
                <a16:creationId xmlns:a16="http://schemas.microsoft.com/office/drawing/2014/main" id="{E67797EA-2C99-425F-E075-35B34EAD82B0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2749C772-F5BE-A933-7541-3DAD12EE6F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05002367-F7A9-BCF1-0AC3-D4258787F662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753170B3-51E7-298C-4328-DBE24988ACEA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F3A3A5DB-FA2E-5EF2-2F0F-05BDE133D4C1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7A3914AC-A44F-A7C9-DAF5-62777360CFBB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F3313283-A599-855C-C1B8-00D0DF24E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9E8DECED-451C-F4C4-DF7D-A841ECC3579C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69D4D777-8770-7C52-310A-8CCAEB26D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E8499F00-1948-8848-12D0-F5F624F2C0A1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8B73D717-389E-78D5-D45B-3B8BA684D10C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596D8616-2331-51B0-EF0F-5221933E096C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8DA2F47E-6A86-EB4E-AF0F-C079AEA0F79F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8508ED9A-873C-88B0-BAB7-DFF073785971}"/>
              </a:ext>
            </a:extLst>
          </p:cNvPr>
          <p:cNvGraphicFramePr>
            <a:graphicFrameLocks noGrp="1"/>
          </p:cNvGraphicFramePr>
          <p:nvPr/>
        </p:nvGraphicFramePr>
        <p:xfrm>
          <a:off x="10412079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BA11D44C-C1A0-049F-DA69-7B64593A89A6}"/>
              </a:ext>
            </a:extLst>
          </p:cNvPr>
          <p:cNvSpPr/>
          <p:nvPr/>
        </p:nvSpPr>
        <p:spPr>
          <a:xfrm>
            <a:off x="10507536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5249D232-80CC-94A3-E954-478198222496}"/>
              </a:ext>
            </a:extLst>
          </p:cNvPr>
          <p:cNvSpPr/>
          <p:nvPr/>
        </p:nvSpPr>
        <p:spPr>
          <a:xfrm>
            <a:off x="10507536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E1FD33D1-F50A-D3CA-C987-4C233EF36F85}"/>
              </a:ext>
            </a:extLst>
          </p:cNvPr>
          <p:cNvSpPr/>
          <p:nvPr/>
        </p:nvSpPr>
        <p:spPr>
          <a:xfrm>
            <a:off x="10507536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8B7CE024-15C6-6E0D-DD01-83F085ED65FB}"/>
              </a:ext>
            </a:extLst>
          </p:cNvPr>
          <p:cNvCxnSpPr>
            <a:cxnSpLocks/>
          </p:cNvCxnSpPr>
          <p:nvPr/>
        </p:nvCxnSpPr>
        <p:spPr>
          <a:xfrm>
            <a:off x="10507536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AF0391A2-17E1-57A9-4220-5429B94EE456}"/>
              </a:ext>
            </a:extLst>
          </p:cNvPr>
          <p:cNvCxnSpPr>
            <a:cxnSpLocks/>
          </p:cNvCxnSpPr>
          <p:nvPr/>
        </p:nvCxnSpPr>
        <p:spPr>
          <a:xfrm>
            <a:off x="10507536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412779A4-73F4-E3A7-F99E-3EF0357A1C7A}"/>
              </a:ext>
            </a:extLst>
          </p:cNvPr>
          <p:cNvCxnSpPr>
            <a:cxnSpLocks/>
          </p:cNvCxnSpPr>
          <p:nvPr/>
        </p:nvCxnSpPr>
        <p:spPr>
          <a:xfrm>
            <a:off x="10507536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8C74616D-6F95-A7E1-942A-DF8522C681EB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6731DA93-0ACF-A64C-24E9-DD3DF9A53DB8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93CE4751-4BE4-031F-D8EB-05D9CC886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EAF4A487-F2E9-6B43-940F-3275F84665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A209A638-9D36-E1CD-2CB0-1B1220E822B6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E0A6AB89-619B-9E5D-EE52-5A3E3E5A224B}"/>
              </a:ext>
            </a:extLst>
          </p:cNvPr>
          <p:cNvCxnSpPr>
            <a:cxnSpLocks/>
            <a:stCxn id="309" idx="2"/>
            <a:endCxn id="439" idx="0"/>
          </p:cNvCxnSpPr>
          <p:nvPr/>
        </p:nvCxnSpPr>
        <p:spPr>
          <a:xfrm rot="5400000">
            <a:off x="2796898" y="2967876"/>
            <a:ext cx="981298" cy="1410570"/>
          </a:xfrm>
          <a:prstGeom prst="bentConnector3">
            <a:avLst>
              <a:gd name="adj1" fmla="val 7954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C999E320-A0F2-045A-8224-5B38A2A7994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1707263" y="5178670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C93343A-2638-E69D-EBE2-EE7F60969CC8}"/>
              </a:ext>
            </a:extLst>
          </p:cNvPr>
          <p:cNvSpPr txBox="1"/>
          <p:nvPr/>
        </p:nvSpPr>
        <p:spPr>
          <a:xfrm>
            <a:off x="1352394" y="5489448"/>
            <a:ext cx="1017907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0.165</a:t>
            </a: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bss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b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idms1-prod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prod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9112840C-12E9-A02E-9563-B2D599F5FC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07237FE3-63BE-06F1-0C2F-FA4E9912CC96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B35D0875-B30D-5247-A0C3-84D400F8C868}"/>
              </a:ext>
            </a:extLst>
          </p:cNvPr>
          <p:cNvCxnSpPr>
            <a:cxnSpLocks/>
            <a:stCxn id="1545" idx="0"/>
            <a:endCxn id="30" idx="2"/>
          </p:cNvCxnSpPr>
          <p:nvPr/>
        </p:nvCxnSpPr>
        <p:spPr>
          <a:xfrm rot="5400000" flipH="1" flipV="1">
            <a:off x="7701466" y="2335240"/>
            <a:ext cx="904068" cy="165442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F99FC982-1423-D4AE-F19B-CCE936C4CB76}"/>
              </a:ext>
            </a:extLst>
          </p:cNvPr>
          <p:cNvSpPr/>
          <p:nvPr/>
        </p:nvSpPr>
        <p:spPr>
          <a:xfrm>
            <a:off x="2689158" y="6629749"/>
            <a:ext cx="6939395" cy="11933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algn="ctr" defTabSz="914400"/>
            <a:r>
              <a:rPr kumimoji="1" lang="en-US" altLang="zh-SG" sz="6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kern="0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F517005-EE73-B334-7D02-A6213D13717F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rd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1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C867ECF-3B39-F57E-62A6-5D9DD91DE33A}"/>
              </a:ext>
            </a:extLst>
          </p:cNvPr>
          <p:cNvSpPr txBox="1"/>
          <p:nvPr/>
        </p:nvSpPr>
        <p:spPr>
          <a:xfrm>
            <a:off x="8773964" y="2279529"/>
            <a:ext cx="413492" cy="430887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19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1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71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71 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530EFD92-8B04-5483-D1E0-5A1F7931BD1B}"/>
              </a:ext>
            </a:extLst>
          </p:cNvPr>
          <p:cNvSpPr txBox="1"/>
          <p:nvPr/>
        </p:nvSpPr>
        <p:spPr>
          <a:xfrm>
            <a:off x="8357258" y="2281028"/>
            <a:ext cx="413492" cy="307777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2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61EE24A4-47C6-41E3-43F3-0DABCC1F0985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D57880FE-75B5-059D-856A-56A450E9CCEC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67D6C4C4-B7BF-8B2C-3757-69F505D678AA}"/>
              </a:ext>
            </a:extLst>
          </p:cNvPr>
          <p:cNvCxnSpPr>
            <a:cxnSpLocks/>
            <a:stCxn id="47" idx="2"/>
            <a:endCxn id="438" idx="0"/>
          </p:cNvCxnSpPr>
          <p:nvPr/>
        </p:nvCxnSpPr>
        <p:spPr>
          <a:xfrm rot="5400000">
            <a:off x="5249961" y="255076"/>
            <a:ext cx="980314" cy="5647773"/>
          </a:xfrm>
          <a:prstGeom prst="bentConnector3">
            <a:avLst>
              <a:gd name="adj1" fmla="val 78438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F962D597-F6CA-7A25-A3F1-FC1E76E0F937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FC504A80-4E0E-6878-84CD-57AF4DE9DCE9}"/>
              </a:ext>
            </a:extLst>
          </p:cNvPr>
          <p:cNvCxnSpPr>
            <a:cxnSpLocks/>
          </p:cNvCxnSpPr>
          <p:nvPr/>
        </p:nvCxnSpPr>
        <p:spPr>
          <a:xfrm>
            <a:off x="10508491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肘形连接符 49">
            <a:extLst>
              <a:ext uri="{FF2B5EF4-FFF2-40B4-BE49-F238E27FC236}">
                <a16:creationId xmlns:a16="http://schemas.microsoft.com/office/drawing/2014/main" id="{2F641A3A-DC06-708A-6CD9-D2AFE0D3633D}"/>
              </a:ext>
            </a:extLst>
          </p:cNvPr>
          <p:cNvCxnSpPr>
            <a:cxnSpLocks/>
            <a:stCxn id="7" idx="2"/>
            <a:endCxn id="439" idx="1"/>
          </p:cNvCxnSpPr>
          <p:nvPr/>
        </p:nvCxnSpPr>
        <p:spPr>
          <a:xfrm flipV="1">
            <a:off x="1996510" y="4276969"/>
            <a:ext cx="468943" cy="104632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C9CFD196-C68A-2C06-2A21-8D507A110FC0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561CC7F2-D125-702F-EB2C-64B94D63E9A8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4DEAE299-3735-C0DC-AE8B-07E9D9628864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44CF025D-3E68-B44C-5310-5F851D953B83}"/>
              </a:ext>
            </a:extLst>
          </p:cNvPr>
          <p:cNvCxnSpPr>
            <a:cxnSpLocks/>
            <a:stCxn id="348" idx="2"/>
            <a:endCxn id="7" idx="0"/>
          </p:cNvCxnSpPr>
          <p:nvPr/>
        </p:nvCxnSpPr>
        <p:spPr>
          <a:xfrm flipV="1">
            <a:off x="1354608" y="5323293"/>
            <a:ext cx="352655" cy="23034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F06E806B-88FA-97BA-872F-FFDE6D183DE9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7C844997-0FC1-9C24-6A99-F821ECBB9C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896058C9-2423-7B94-B6B7-8F5BFE262963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3CCF50EF-8986-5B2B-6FAC-3506006DA12B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63E14E83-8F93-83D0-1996-1D5B8CAADC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C11F1268-8BF1-8DF7-6583-7785F7801F8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8E50F033-3F39-DF42-F721-7D63D400AE78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F93B2986-D6FE-5785-DBC3-740AF5015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C998EB28-64E5-DCEB-E340-685C38C56EFE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75701BA3-4BF9-3B8B-A169-D9456BA1B864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30FBB51B-B86B-20BA-EDF6-898F973A6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68AC569C-E358-D687-875C-189FF44C633F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6AE1B0C3-C13D-ECF6-16EB-6FE6DE85AA34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EF3D96F7-3454-7028-83DE-8FD8E9822435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E835E54A-8EE0-55D5-940B-F5D2641876CE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D368F565-E8CE-45B8-AFAA-2AEC5EA39902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2CF5F333-9028-B6C4-81FA-16BA42D28F7C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6945597A-3D79-7619-6AB9-1DDB90CFB758}"/>
              </a:ext>
            </a:extLst>
          </p:cNvPr>
          <p:cNvSpPr/>
          <p:nvPr/>
        </p:nvSpPr>
        <p:spPr>
          <a:xfrm>
            <a:off x="10469599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BF268137-7B38-7756-54FD-0716464F115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477225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50814CC7-4875-2B3C-03DA-A0D102C15F9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755301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58A5F297-E745-6920-C875-6BAD1F8C749F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672269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F3D6E4B9-06C0-D737-A89A-ACE0AE3917A0}"/>
              </a:ext>
            </a:extLst>
          </p:cNvPr>
          <p:cNvSpPr txBox="1"/>
          <p:nvPr/>
        </p:nvSpPr>
        <p:spPr>
          <a:xfrm>
            <a:off x="10513909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C2EE0E1B-2309-63DA-6851-2D6CEC713140}"/>
              </a:ext>
            </a:extLst>
          </p:cNvPr>
          <p:cNvCxnSpPr>
            <a:cxnSpLocks/>
            <a:stCxn id="7" idx="2"/>
            <a:endCxn id="418" idx="0"/>
          </p:cNvCxnSpPr>
          <p:nvPr/>
        </p:nvCxnSpPr>
        <p:spPr>
          <a:xfrm>
            <a:off x="1996510" y="5323293"/>
            <a:ext cx="231135" cy="761376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66216824-BC7D-A655-4CD6-94BE9BC42E84}"/>
              </a:ext>
            </a:extLst>
          </p:cNvPr>
          <p:cNvCxnSpPr>
            <a:cxnSpLocks/>
          </p:cNvCxnSpPr>
          <p:nvPr/>
        </p:nvCxnSpPr>
        <p:spPr>
          <a:xfrm>
            <a:off x="10513560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399D8FC-F57F-8752-53DA-9AA006941059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33F5613B-725B-E30D-0174-E229E1C2DF78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5474D00-BB1E-47CA-4B7B-64A5A0553AE3}"/>
              </a:ext>
            </a:extLst>
          </p:cNvPr>
          <p:cNvSpPr/>
          <p:nvPr/>
        </p:nvSpPr>
        <p:spPr>
          <a:xfrm>
            <a:off x="10638360" y="2499642"/>
            <a:ext cx="865499" cy="251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B1558ED2-6B8F-2A79-346E-2EE032A0F787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4881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0E050120-20FF-11BA-8EF8-C64D48D12CB7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A1E6FBF0-E371-DCD2-A839-C7D7AA9E08B4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C9066095-2FD0-EFEA-49A2-2F65903BF0C2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9F5CBCB1-0485-2AD3-9F78-F4285C2453C8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C7EDDC3E-C96D-A671-B71C-7C1B2A4F34E0}"/>
              </a:ext>
            </a:extLst>
          </p:cNvPr>
          <p:cNvCxnSpPr>
            <a:cxnSpLocks/>
          </p:cNvCxnSpPr>
          <p:nvPr/>
        </p:nvCxnSpPr>
        <p:spPr>
          <a:xfrm>
            <a:off x="10514422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AD2B5DA6-5FFD-8FE7-5FFF-CE4E3DD14BB2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BDBBA829-D5D8-7869-1DC4-7D701A7BFB0D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CC72D176-C5DC-9284-2CCB-F243F21D9228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0DC5E331-CB66-155C-9B75-118EEB8BDA28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C222A3B9-93FF-856F-D7E3-D70ECAEEF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7D124AB2-F8D6-64EF-4D8A-71544E3216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2C0A8FF9-7E79-0140-8F65-04863599E073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504C7731-2BDD-895D-494B-BB33190328F5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541A1AD8-1800-C7B1-3E4D-5FB44D18DAF7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65295157-73F3-3613-D1FE-496B10C8D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6107AAB1-A62D-2697-288F-73B971F55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CC2A17CF-9964-92C9-ECC1-07F8D1DD67D4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8C85DB58-2AF6-70BD-5400-E2D82428991B}"/>
              </a:ext>
            </a:extLst>
          </p:cNvPr>
          <p:cNvSpPr/>
          <p:nvPr/>
        </p:nvSpPr>
        <p:spPr>
          <a:xfrm>
            <a:off x="9830488" y="4813322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8B7A0A32-D588-DDB1-E072-5BE577E3F15E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206BC1A-44C7-6B31-C158-8FCD46C8729F}"/>
              </a:ext>
            </a:extLst>
          </p:cNvPr>
          <p:cNvGrpSpPr/>
          <p:nvPr/>
        </p:nvGrpSpPr>
        <p:grpSpPr>
          <a:xfrm>
            <a:off x="3961407" y="1622220"/>
            <a:ext cx="1485516" cy="763102"/>
            <a:chOff x="4078804" y="1622220"/>
            <a:chExt cx="1485516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EC133CFA-9C97-2E0D-5DE0-10D629699942}"/>
                </a:ext>
              </a:extLst>
            </p:cNvPr>
            <p:cNvGrpSpPr/>
            <p:nvPr/>
          </p:nvGrpSpPr>
          <p:grpSpPr>
            <a:xfrm>
              <a:off x="4078804" y="1622220"/>
              <a:ext cx="1485516" cy="763102"/>
              <a:chOff x="4263653" y="5430271"/>
              <a:chExt cx="1485516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AEF56B25-47E8-50A4-385A-DC8C9E7DD479}"/>
                  </a:ext>
                </a:extLst>
              </p:cNvPr>
              <p:cNvSpPr/>
              <p:nvPr/>
            </p:nvSpPr>
            <p:spPr>
              <a:xfrm>
                <a:off x="4807680" y="5430271"/>
                <a:ext cx="941489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B3752A03-6895-E8BB-6EA8-9580F759B88D}"/>
                  </a:ext>
                </a:extLst>
              </p:cNvPr>
              <p:cNvSpPr/>
              <p:nvPr/>
            </p:nvSpPr>
            <p:spPr>
              <a:xfrm>
                <a:off x="4838574" y="5453567"/>
                <a:ext cx="867056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CA83520F-0184-2F3F-865A-7216F4D57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5D1962FC-DFC9-544A-28D1-6452178862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3AED1910-8AE1-BED4-9E99-7A17123558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82DAC9E5-1293-B125-1C00-E40CDCD8B9A6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A9C8E025-472E-64F6-33DD-E33760BB9CC6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2" name="文本框 1161">
                <a:extLst>
                  <a:ext uri="{FF2B5EF4-FFF2-40B4-BE49-F238E27FC236}">
                    <a16:creationId xmlns:a16="http://schemas.microsoft.com/office/drawing/2014/main" id="{22C1A9F2-7462-4B5A-4915-D5140C56971F}"/>
                  </a:ext>
                </a:extLst>
              </p:cNvPr>
              <p:cNvSpPr txBox="1"/>
              <p:nvPr/>
            </p:nvSpPr>
            <p:spPr>
              <a:xfrm>
                <a:off x="4981246" y="6093535"/>
                <a:ext cx="598986" cy="92333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Namespace: </a:t>
                </a:r>
                <a:r>
                  <a:rPr kumimoji="1" lang="en-US" altLang="zh-SG" sz="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Debp</a:t>
                </a:r>
                <a:endParaRPr kumimoji="1" lang="zh-SG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A690AFE3-CA6B-A105-65A5-C20526D45A7C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1C3DBDF0-AA6E-2201-22A0-A8E494B8B7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F42C7571-1DD4-4B4F-7F88-2A043F01C0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5ED9FD93-8D40-079A-7870-62DA6DB677FB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34CBF1DD-EBBD-BBBE-F69B-D4840E78AA30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2B1C4B3C-A790-BB85-EC24-2272B29013A4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5FD6A88A-64A3-0B09-DDE6-333462470FF1}"/>
                  </a:ext>
                </a:extLst>
              </p:cNvPr>
              <p:cNvSpPr/>
              <p:nvPr/>
            </p:nvSpPr>
            <p:spPr>
              <a:xfrm>
                <a:off x="4263653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A42E9A31-89A4-7ED8-A301-30633255FCFA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8945" y="5734950"/>
                <a:ext cx="117026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A97C5281-3DEE-B4C2-22A6-0C62E1AA8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7629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E1624CB6-E288-0478-9D63-89F7018E95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5705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9CDD5D71-EABA-FB86-FB5F-A5E7908C5C38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72673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8E8AF2A1-960B-B938-0C41-7A6C9F9AC9D9}"/>
                  </a:ext>
                </a:extLst>
              </p:cNvPr>
              <p:cNvSpPr txBox="1"/>
              <p:nvPr/>
            </p:nvSpPr>
            <p:spPr>
              <a:xfrm>
                <a:off x="4328028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2A6263C7-EBF9-7722-1AE3-02A96A62BA24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20116084-360D-C040-973D-9C24EB7175BB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26006872-D4B5-0A81-3C3D-407BD0B66D41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0B8CD506-9202-0B54-6FC9-96DEFC783C92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VPN 34414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CD97247-FBCC-74D7-15B1-576F25EFE0ED}"/>
              </a:ext>
            </a:extLst>
          </p:cNvPr>
          <p:cNvSpPr txBox="1"/>
          <p:nvPr/>
        </p:nvSpPr>
        <p:spPr>
          <a:xfrm>
            <a:off x="2233294" y="2251783"/>
            <a:ext cx="84878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E5996006-5237-8CEF-D89D-A214396ED723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A421E67E-5025-EBDC-21DA-63E9098D2C73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A210B666-C733-38EF-FECE-69611E406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D4E97477-7250-B685-0270-9152A64174A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CBA8C71E-ED43-BE3E-CE45-0B502CF651A1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240A0995-D461-A24E-2C45-E1AB931F3E9A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EC9FF735-C65B-8319-4D64-75F56C4A0F17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5BCEC2F0-11FC-AAE9-3BB4-8C3ED640FEE6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7307AAE6-57CF-D2B6-74F0-4D7A8984465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B6138537-8CBC-98C8-91C6-FA01941EBFF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FA1DE75E-0914-E628-03EC-EA26B87C52A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C783C6EB-0B87-29F4-2031-FC2CFB01467D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969946A1-E48A-469E-8E9A-3BB82C8FD3EB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9DC73713-8676-A463-2B33-B09B0212FFD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E195AA8A-75FB-1F69-2F67-C14A45B1FA46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927D1D74-3D78-15D5-0AD6-8C3B0362CA18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43EFFA4D-3B84-1C6A-AF91-524B0B3B3F4B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8FFC653A-7157-A07A-5367-9E88B0C88A0F}"/>
              </a:ext>
            </a:extLst>
          </p:cNvPr>
          <p:cNvSpPr/>
          <p:nvPr/>
        </p:nvSpPr>
        <p:spPr>
          <a:xfrm rot="16200000">
            <a:off x="-542563" y="489244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C3BF6371-F0C2-DC0C-2C19-6872E4F2327D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44A5A526-1AA5-ADDA-0ACF-0B5EAFEDEBC5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D5112F9F-CDF5-6CE1-2078-DA39C66373D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BAC94C26-F173-4BA9-AD33-005029651DEE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B7F2BD4-B435-565D-2EF5-B85C9718642E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N</a:t>
            </a: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46CED42E-A3DB-9D7F-52F0-E7F73A433496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BB5EBAA1-BEF3-63CD-D74C-01849F95662B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AED9A7AD-972C-B5E8-9588-0ADDE7192559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B0EAE7C5-9D08-EC4D-EB63-16596040847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2315B855-C7DB-F60E-9A36-62DD7A88E006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CAF9FD4A-4C72-CF35-AEF5-7C4859374C8E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77137A3B-13C3-7F51-98EE-A8362FC5D3D8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A95B5EE8-C112-FE69-B2BE-057C3407A19C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B476989D-C466-F180-083F-37D0859ECAE9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4D71509F-29FB-9996-6D6D-5CB7093D0A3B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39072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3" name="文本框 462">
            <a:extLst>
              <a:ext uri="{FF2B5EF4-FFF2-40B4-BE49-F238E27FC236}">
                <a16:creationId xmlns:a16="http://schemas.microsoft.com/office/drawing/2014/main" id="{4C4D307E-7EC9-8E83-1F67-B6FB582E63BB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44CA9165-BE43-BAB5-7642-8BD0A3B2D671}"/>
              </a:ext>
            </a:extLst>
          </p:cNvPr>
          <p:cNvSpPr txBox="1"/>
          <p:nvPr/>
        </p:nvSpPr>
        <p:spPr>
          <a:xfrm>
            <a:off x="5889619" y="2806534"/>
            <a:ext cx="1033575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.gw.pnd.prod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F5808F5D-A0F1-EF31-D02E-57F86A84015A}"/>
              </a:ext>
            </a:extLst>
          </p:cNvPr>
          <p:cNvSpPr txBox="1"/>
          <p:nvPr/>
        </p:nvSpPr>
        <p:spPr>
          <a:xfrm>
            <a:off x="4561595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.gw.apigw.prod.lz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6FB6C7E8-CF1C-4074-7F0D-0F740434C967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</a:t>
            </a:r>
            <a:r>
              <a:rPr kumimoji="0" lang="es-ES" altLang="zh-SG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E14E1345-9409-65E6-375D-EDE0DB7AB77C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92" name="文本框 491">
            <a:extLst>
              <a:ext uri="{FF2B5EF4-FFF2-40B4-BE49-F238E27FC236}">
                <a16:creationId xmlns:a16="http://schemas.microsoft.com/office/drawing/2014/main" id="{A55E8F03-3359-3241-C5E9-907870536E2C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FE21057D-18CD-439B-E748-635472A63EEA}"/>
              </a:ext>
            </a:extLst>
          </p:cNvPr>
          <p:cNvSpPr/>
          <p:nvPr/>
        </p:nvSpPr>
        <p:spPr>
          <a:xfrm>
            <a:off x="3289307" y="3715085"/>
            <a:ext cx="1567919" cy="2801746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8F45F958-373C-E1C8-8C73-9FB5C8AB5C12}"/>
              </a:ext>
            </a:extLst>
          </p:cNvPr>
          <p:cNvSpPr/>
          <p:nvPr/>
        </p:nvSpPr>
        <p:spPr>
          <a:xfrm>
            <a:off x="4943367" y="3715084"/>
            <a:ext cx="101682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FDDF2A8C-B1DB-CF55-1D32-DB64CFD2595F}"/>
              </a:ext>
            </a:extLst>
          </p:cNvPr>
          <p:cNvSpPr/>
          <p:nvPr/>
        </p:nvSpPr>
        <p:spPr>
          <a:xfrm>
            <a:off x="6043468" y="3715084"/>
            <a:ext cx="110514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32" name="圆角矩形 1431">
            <a:extLst>
              <a:ext uri="{FF2B5EF4-FFF2-40B4-BE49-F238E27FC236}">
                <a16:creationId xmlns:a16="http://schemas.microsoft.com/office/drawing/2014/main" id="{0DF3724F-72DD-263C-8AD0-75D18B1BCF91}"/>
              </a:ext>
            </a:extLst>
          </p:cNvPr>
          <p:cNvSpPr/>
          <p:nvPr/>
        </p:nvSpPr>
        <p:spPr>
          <a:xfrm>
            <a:off x="3354540" y="3844026"/>
            <a:ext cx="3727432" cy="2603074"/>
          </a:xfrm>
          <a:prstGeom prst="roundRect">
            <a:avLst>
              <a:gd name="adj" fmla="val 2434"/>
            </a:avLst>
          </a:prstGeom>
          <a:solidFill>
            <a:srgbClr val="DE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578A6C4D-C887-24DB-1D66-31C931733FE1}"/>
              </a:ext>
            </a:extLst>
          </p:cNvPr>
          <p:cNvSpPr/>
          <p:nvPr/>
        </p:nvSpPr>
        <p:spPr>
          <a:xfrm>
            <a:off x="10507939" y="413473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EC9FA7A1-8889-FC75-9FE8-A0C18F9EF347}"/>
              </a:ext>
            </a:extLst>
          </p:cNvPr>
          <p:cNvSpPr/>
          <p:nvPr/>
        </p:nvSpPr>
        <p:spPr>
          <a:xfrm>
            <a:off x="10507939" y="435014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E7A42F34-2D08-A822-2F4B-56FE336F18C0}"/>
              </a:ext>
            </a:extLst>
          </p:cNvPr>
          <p:cNvSpPr txBox="1"/>
          <p:nvPr/>
        </p:nvSpPr>
        <p:spPr>
          <a:xfrm>
            <a:off x="3570801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1 (</a:t>
            </a:r>
            <a:r>
              <a:rPr kumimoji="1" lang="en-US" altLang="zh-CN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BCD3080C-212A-BEF6-806A-5E6313546D37}"/>
              </a:ext>
            </a:extLst>
          </p:cNvPr>
          <p:cNvSpPr txBox="1"/>
          <p:nvPr/>
        </p:nvSpPr>
        <p:spPr>
          <a:xfrm>
            <a:off x="4945870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8E1A9EE-BBCC-7EFE-58C9-B02BE4EFDDD9}"/>
              </a:ext>
            </a:extLst>
          </p:cNvPr>
          <p:cNvSpPr txBox="1"/>
          <p:nvPr/>
        </p:nvSpPr>
        <p:spPr>
          <a:xfrm>
            <a:off x="6112814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82" name="圆角矩形 1381">
            <a:extLst>
              <a:ext uri="{FF2B5EF4-FFF2-40B4-BE49-F238E27FC236}">
                <a16:creationId xmlns:a16="http://schemas.microsoft.com/office/drawing/2014/main" id="{4599EFC1-103F-9F84-5EF4-CE64A56F2CFA}"/>
              </a:ext>
            </a:extLst>
          </p:cNvPr>
          <p:cNvSpPr/>
          <p:nvPr/>
        </p:nvSpPr>
        <p:spPr>
          <a:xfrm>
            <a:off x="3353877" y="3918811"/>
            <a:ext cx="3922412" cy="2397009"/>
          </a:xfrm>
          <a:prstGeom prst="roundRect">
            <a:avLst>
              <a:gd name="adj" fmla="val 0"/>
            </a:avLst>
          </a:prstGeom>
          <a:solidFill>
            <a:srgbClr val="FFE7BF">
              <a:alpha val="55652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3689CA82-0A1D-C59D-CA56-A2DCA2FD5B23}"/>
              </a:ext>
            </a:extLst>
          </p:cNvPr>
          <p:cNvSpPr/>
          <p:nvPr/>
        </p:nvSpPr>
        <p:spPr>
          <a:xfrm>
            <a:off x="3429199" y="5600891"/>
            <a:ext cx="3584399" cy="239991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23" name="圆角矩形 1222">
            <a:extLst>
              <a:ext uri="{FF2B5EF4-FFF2-40B4-BE49-F238E27FC236}">
                <a16:creationId xmlns:a16="http://schemas.microsoft.com/office/drawing/2014/main" id="{C7D9EC4C-AB6B-BE85-0F88-F415FCF2463F}"/>
              </a:ext>
            </a:extLst>
          </p:cNvPr>
          <p:cNvSpPr/>
          <p:nvPr/>
        </p:nvSpPr>
        <p:spPr>
          <a:xfrm>
            <a:off x="3992833" y="5600891"/>
            <a:ext cx="2863160" cy="239991"/>
          </a:xfrm>
          <a:prstGeom prst="roundRect">
            <a:avLst>
              <a:gd name="adj" fmla="val 0"/>
            </a:avLst>
          </a:prstGeom>
          <a:solidFill>
            <a:srgbClr val="FFE7BF">
              <a:alpha val="0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24" name="组合 1223">
            <a:extLst>
              <a:ext uri="{FF2B5EF4-FFF2-40B4-BE49-F238E27FC236}">
                <a16:creationId xmlns:a16="http://schemas.microsoft.com/office/drawing/2014/main" id="{94B518F5-5A28-0FDC-7FAB-44AB222E9449}"/>
              </a:ext>
            </a:extLst>
          </p:cNvPr>
          <p:cNvGrpSpPr/>
          <p:nvPr/>
        </p:nvGrpSpPr>
        <p:grpSpPr>
          <a:xfrm>
            <a:off x="4191720" y="5598700"/>
            <a:ext cx="497590" cy="244372"/>
            <a:chOff x="4011398" y="4190029"/>
            <a:chExt cx="497590" cy="222156"/>
          </a:xfrm>
        </p:grpSpPr>
        <p:pic>
          <p:nvPicPr>
            <p:cNvPr id="1225" name="图片 1224">
              <a:extLst>
                <a:ext uri="{FF2B5EF4-FFF2-40B4-BE49-F238E27FC236}">
                  <a16:creationId xmlns:a16="http://schemas.microsoft.com/office/drawing/2014/main" id="{2070A423-6F50-4FBF-A75F-92D42805E0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26" name="图片 1225">
              <a:extLst>
                <a:ext uri="{FF2B5EF4-FFF2-40B4-BE49-F238E27FC236}">
                  <a16:creationId xmlns:a16="http://schemas.microsoft.com/office/drawing/2014/main" id="{60E39E8D-3EDB-207B-4C45-2822F4B94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27" name="肘形连接符 1226">
              <a:extLst>
                <a:ext uri="{FF2B5EF4-FFF2-40B4-BE49-F238E27FC236}">
                  <a16:creationId xmlns:a16="http://schemas.microsoft.com/office/drawing/2014/main" id="{2432B3BD-33BF-E0C4-492C-BC2167A13ECE}"/>
                </a:ext>
              </a:extLst>
            </p:cNvPr>
            <p:cNvCxnSpPr>
              <a:cxnSpLocks/>
              <a:stCxn id="1225" idx="3"/>
              <a:endCxn id="122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8" name="矩形 1227">
              <a:extLst>
                <a:ext uri="{FF2B5EF4-FFF2-40B4-BE49-F238E27FC236}">
                  <a16:creationId xmlns:a16="http://schemas.microsoft.com/office/drawing/2014/main" id="{D4A99959-2F63-2ED2-EC2A-DE8B8F168045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29" name="文本框 1228">
              <a:extLst>
                <a:ext uri="{FF2B5EF4-FFF2-40B4-BE49-F238E27FC236}">
                  <a16:creationId xmlns:a16="http://schemas.microsoft.com/office/drawing/2014/main" id="{91624AEF-AB35-D119-E88B-F3A14CCD5D19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0" name="组合 1229">
            <a:extLst>
              <a:ext uri="{FF2B5EF4-FFF2-40B4-BE49-F238E27FC236}">
                <a16:creationId xmlns:a16="http://schemas.microsoft.com/office/drawing/2014/main" id="{C420323B-F677-A7FD-68CD-1D5486C76A53}"/>
              </a:ext>
            </a:extLst>
          </p:cNvPr>
          <p:cNvGrpSpPr/>
          <p:nvPr/>
        </p:nvGrpSpPr>
        <p:grpSpPr>
          <a:xfrm>
            <a:off x="5202982" y="5598700"/>
            <a:ext cx="497590" cy="244372"/>
            <a:chOff x="4011398" y="4190029"/>
            <a:chExt cx="497590" cy="222156"/>
          </a:xfrm>
        </p:grpSpPr>
        <p:pic>
          <p:nvPicPr>
            <p:cNvPr id="1231" name="图片 1230">
              <a:extLst>
                <a:ext uri="{FF2B5EF4-FFF2-40B4-BE49-F238E27FC236}">
                  <a16:creationId xmlns:a16="http://schemas.microsoft.com/office/drawing/2014/main" id="{A0938D73-0AF5-0C03-B268-2AD88D010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2" name="图片 1231">
              <a:extLst>
                <a:ext uri="{FF2B5EF4-FFF2-40B4-BE49-F238E27FC236}">
                  <a16:creationId xmlns:a16="http://schemas.microsoft.com/office/drawing/2014/main" id="{F12DA087-06B3-BC5C-C69F-EAC1A4B92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3" name="肘形连接符 1232">
              <a:extLst>
                <a:ext uri="{FF2B5EF4-FFF2-40B4-BE49-F238E27FC236}">
                  <a16:creationId xmlns:a16="http://schemas.microsoft.com/office/drawing/2014/main" id="{1F6C9FFD-A64D-CE9F-D62A-202F3574F389}"/>
                </a:ext>
              </a:extLst>
            </p:cNvPr>
            <p:cNvCxnSpPr>
              <a:cxnSpLocks/>
              <a:stCxn id="1231" idx="3"/>
              <a:endCxn id="123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4" name="矩形 1233">
              <a:extLst>
                <a:ext uri="{FF2B5EF4-FFF2-40B4-BE49-F238E27FC236}">
                  <a16:creationId xmlns:a16="http://schemas.microsoft.com/office/drawing/2014/main" id="{092AA8C6-7714-EC64-72CF-416E4ED70D90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35" name="文本框 1234">
              <a:extLst>
                <a:ext uri="{FF2B5EF4-FFF2-40B4-BE49-F238E27FC236}">
                  <a16:creationId xmlns:a16="http://schemas.microsoft.com/office/drawing/2014/main" id="{5CFFADF4-C107-F237-885D-A4E87A539E67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6" name="组合 1235">
            <a:extLst>
              <a:ext uri="{FF2B5EF4-FFF2-40B4-BE49-F238E27FC236}">
                <a16:creationId xmlns:a16="http://schemas.microsoft.com/office/drawing/2014/main" id="{589EE7A1-0E9A-1052-22D4-2D2F7E474161}"/>
              </a:ext>
            </a:extLst>
          </p:cNvPr>
          <p:cNvGrpSpPr/>
          <p:nvPr/>
        </p:nvGrpSpPr>
        <p:grpSpPr>
          <a:xfrm>
            <a:off x="6243341" y="5598700"/>
            <a:ext cx="497590" cy="244372"/>
            <a:chOff x="4011398" y="4190029"/>
            <a:chExt cx="497590" cy="222156"/>
          </a:xfrm>
        </p:grpSpPr>
        <p:pic>
          <p:nvPicPr>
            <p:cNvPr id="1237" name="图片 1236">
              <a:extLst>
                <a:ext uri="{FF2B5EF4-FFF2-40B4-BE49-F238E27FC236}">
                  <a16:creationId xmlns:a16="http://schemas.microsoft.com/office/drawing/2014/main" id="{64BFBA59-7BF0-AC13-72B0-82A08A38D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8" name="图片 1237">
              <a:extLst>
                <a:ext uri="{FF2B5EF4-FFF2-40B4-BE49-F238E27FC236}">
                  <a16:creationId xmlns:a16="http://schemas.microsoft.com/office/drawing/2014/main" id="{9895A4E4-EB39-B824-0099-BCC17E5EA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9" name="肘形连接符 1238">
              <a:extLst>
                <a:ext uri="{FF2B5EF4-FFF2-40B4-BE49-F238E27FC236}">
                  <a16:creationId xmlns:a16="http://schemas.microsoft.com/office/drawing/2014/main" id="{883BC805-688B-E996-D60B-CB5D7419A410}"/>
                </a:ext>
              </a:extLst>
            </p:cNvPr>
            <p:cNvCxnSpPr>
              <a:cxnSpLocks/>
              <a:stCxn id="1237" idx="3"/>
              <a:endCxn id="123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0" name="矩形 1239">
              <a:extLst>
                <a:ext uri="{FF2B5EF4-FFF2-40B4-BE49-F238E27FC236}">
                  <a16:creationId xmlns:a16="http://schemas.microsoft.com/office/drawing/2014/main" id="{7E3EA24B-D73F-0029-6284-8AC382CFDC4C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41" name="文本框 1240">
              <a:extLst>
                <a:ext uri="{FF2B5EF4-FFF2-40B4-BE49-F238E27FC236}">
                  <a16:creationId xmlns:a16="http://schemas.microsoft.com/office/drawing/2014/main" id="{92A5F222-1DBE-EE22-5594-77122AFCCFE4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42" name="圆角矩形 1241">
            <a:extLst>
              <a:ext uri="{FF2B5EF4-FFF2-40B4-BE49-F238E27FC236}">
                <a16:creationId xmlns:a16="http://schemas.microsoft.com/office/drawing/2014/main" id="{DD58E3C6-0FF6-37C4-3F3D-51C32340DCF8}"/>
              </a:ext>
            </a:extLst>
          </p:cNvPr>
          <p:cNvSpPr/>
          <p:nvPr/>
        </p:nvSpPr>
        <p:spPr>
          <a:xfrm>
            <a:off x="3429199" y="5596619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Porta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92" name="圆角矩形 1391">
            <a:extLst>
              <a:ext uri="{FF2B5EF4-FFF2-40B4-BE49-F238E27FC236}">
                <a16:creationId xmlns:a16="http://schemas.microsoft.com/office/drawing/2014/main" id="{FD8CD501-8281-3FD5-2401-FCB64F4C571C}"/>
              </a:ext>
            </a:extLst>
          </p:cNvPr>
          <p:cNvSpPr/>
          <p:nvPr/>
        </p:nvSpPr>
        <p:spPr>
          <a:xfrm>
            <a:off x="3429199" y="5875730"/>
            <a:ext cx="3584399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93" name="圆角矩形 1392">
            <a:extLst>
              <a:ext uri="{FF2B5EF4-FFF2-40B4-BE49-F238E27FC236}">
                <a16:creationId xmlns:a16="http://schemas.microsoft.com/office/drawing/2014/main" id="{34D266A1-4DC1-4762-3F12-0E17517FE981}"/>
              </a:ext>
            </a:extLst>
          </p:cNvPr>
          <p:cNvSpPr/>
          <p:nvPr/>
        </p:nvSpPr>
        <p:spPr>
          <a:xfrm>
            <a:off x="3995458" y="5875730"/>
            <a:ext cx="2863160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94" name="组合 1393">
            <a:extLst>
              <a:ext uri="{FF2B5EF4-FFF2-40B4-BE49-F238E27FC236}">
                <a16:creationId xmlns:a16="http://schemas.microsoft.com/office/drawing/2014/main" id="{0A5F7AD1-9F2F-71C8-E4A2-E3DDB6C9C75F}"/>
              </a:ext>
            </a:extLst>
          </p:cNvPr>
          <p:cNvGrpSpPr/>
          <p:nvPr/>
        </p:nvGrpSpPr>
        <p:grpSpPr>
          <a:xfrm>
            <a:off x="4191720" y="5874144"/>
            <a:ext cx="497590" cy="244372"/>
            <a:chOff x="4011398" y="4190029"/>
            <a:chExt cx="497590" cy="222156"/>
          </a:xfrm>
        </p:grpSpPr>
        <p:pic>
          <p:nvPicPr>
            <p:cNvPr id="1395" name="图片 1394">
              <a:extLst>
                <a:ext uri="{FF2B5EF4-FFF2-40B4-BE49-F238E27FC236}">
                  <a16:creationId xmlns:a16="http://schemas.microsoft.com/office/drawing/2014/main" id="{21523B11-D50B-5B6C-50AE-EB69B4542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96" name="图片 1395">
              <a:extLst>
                <a:ext uri="{FF2B5EF4-FFF2-40B4-BE49-F238E27FC236}">
                  <a16:creationId xmlns:a16="http://schemas.microsoft.com/office/drawing/2014/main" id="{91203058-F962-3857-4B11-9F94299DC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97" name="肘形连接符 1396">
              <a:extLst>
                <a:ext uri="{FF2B5EF4-FFF2-40B4-BE49-F238E27FC236}">
                  <a16:creationId xmlns:a16="http://schemas.microsoft.com/office/drawing/2014/main" id="{636D4561-AB46-3D9D-C137-6EF41B4D224F}"/>
                </a:ext>
              </a:extLst>
            </p:cNvPr>
            <p:cNvCxnSpPr>
              <a:cxnSpLocks/>
              <a:stCxn id="1395" idx="3"/>
              <a:endCxn id="139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8" name="矩形 1397">
              <a:extLst>
                <a:ext uri="{FF2B5EF4-FFF2-40B4-BE49-F238E27FC236}">
                  <a16:creationId xmlns:a16="http://schemas.microsoft.com/office/drawing/2014/main" id="{AA7EA24F-1EDA-56E5-4D5B-74857D5E626E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99" name="文本框 1398">
              <a:extLst>
                <a:ext uri="{FF2B5EF4-FFF2-40B4-BE49-F238E27FC236}">
                  <a16:creationId xmlns:a16="http://schemas.microsoft.com/office/drawing/2014/main" id="{49E9B694-DD13-AA80-A331-EEF5623AFFB7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0" name="组合 1399">
            <a:extLst>
              <a:ext uri="{FF2B5EF4-FFF2-40B4-BE49-F238E27FC236}">
                <a16:creationId xmlns:a16="http://schemas.microsoft.com/office/drawing/2014/main" id="{4703DB92-4988-801B-3939-1B777C6B5430}"/>
              </a:ext>
            </a:extLst>
          </p:cNvPr>
          <p:cNvGrpSpPr/>
          <p:nvPr/>
        </p:nvGrpSpPr>
        <p:grpSpPr>
          <a:xfrm>
            <a:off x="5202982" y="5874144"/>
            <a:ext cx="497590" cy="244372"/>
            <a:chOff x="4011398" y="4190029"/>
            <a:chExt cx="497590" cy="222156"/>
          </a:xfrm>
        </p:grpSpPr>
        <p:pic>
          <p:nvPicPr>
            <p:cNvPr id="1401" name="图片 1400">
              <a:extLst>
                <a:ext uri="{FF2B5EF4-FFF2-40B4-BE49-F238E27FC236}">
                  <a16:creationId xmlns:a16="http://schemas.microsoft.com/office/drawing/2014/main" id="{BEC26CAD-8750-F4A8-2FE3-7DA78CA51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2" name="图片 1401">
              <a:extLst>
                <a:ext uri="{FF2B5EF4-FFF2-40B4-BE49-F238E27FC236}">
                  <a16:creationId xmlns:a16="http://schemas.microsoft.com/office/drawing/2014/main" id="{63B1B62B-FCB0-DA87-5EE9-D366B8370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3" name="肘形连接符 1402">
              <a:extLst>
                <a:ext uri="{FF2B5EF4-FFF2-40B4-BE49-F238E27FC236}">
                  <a16:creationId xmlns:a16="http://schemas.microsoft.com/office/drawing/2014/main" id="{39D3C976-C035-6E73-80AF-EAAA85AF5304}"/>
                </a:ext>
              </a:extLst>
            </p:cNvPr>
            <p:cNvCxnSpPr>
              <a:cxnSpLocks/>
              <a:stCxn id="1401" idx="3"/>
              <a:endCxn id="140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矩形 1403">
              <a:extLst>
                <a:ext uri="{FF2B5EF4-FFF2-40B4-BE49-F238E27FC236}">
                  <a16:creationId xmlns:a16="http://schemas.microsoft.com/office/drawing/2014/main" id="{D2E3416E-70F6-5DB5-ED98-5832BD4994D0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05" name="文本框 1404">
              <a:extLst>
                <a:ext uri="{FF2B5EF4-FFF2-40B4-BE49-F238E27FC236}">
                  <a16:creationId xmlns:a16="http://schemas.microsoft.com/office/drawing/2014/main" id="{63005346-D3D3-1550-A816-22F56E161249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6" name="组合 1405">
            <a:extLst>
              <a:ext uri="{FF2B5EF4-FFF2-40B4-BE49-F238E27FC236}">
                <a16:creationId xmlns:a16="http://schemas.microsoft.com/office/drawing/2014/main" id="{3BF5455E-C77C-3D7C-157C-4E641C6022AF}"/>
              </a:ext>
            </a:extLst>
          </p:cNvPr>
          <p:cNvGrpSpPr/>
          <p:nvPr/>
        </p:nvGrpSpPr>
        <p:grpSpPr>
          <a:xfrm>
            <a:off x="6243341" y="5874144"/>
            <a:ext cx="497590" cy="244372"/>
            <a:chOff x="4011398" y="4190029"/>
            <a:chExt cx="497590" cy="222156"/>
          </a:xfrm>
        </p:grpSpPr>
        <p:pic>
          <p:nvPicPr>
            <p:cNvPr id="1407" name="图片 1406">
              <a:extLst>
                <a:ext uri="{FF2B5EF4-FFF2-40B4-BE49-F238E27FC236}">
                  <a16:creationId xmlns:a16="http://schemas.microsoft.com/office/drawing/2014/main" id="{9DFDB202-46B3-7C5D-9B43-B915F605E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8" name="图片 1407">
              <a:extLst>
                <a:ext uri="{FF2B5EF4-FFF2-40B4-BE49-F238E27FC236}">
                  <a16:creationId xmlns:a16="http://schemas.microsoft.com/office/drawing/2014/main" id="{40347035-89E7-16CC-75BC-8E327FF97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9" name="肘形连接符 1408">
              <a:extLst>
                <a:ext uri="{FF2B5EF4-FFF2-40B4-BE49-F238E27FC236}">
                  <a16:creationId xmlns:a16="http://schemas.microsoft.com/office/drawing/2014/main" id="{9AE7944F-9877-0CB5-203C-7CBC18C4E208}"/>
                </a:ext>
              </a:extLst>
            </p:cNvPr>
            <p:cNvCxnSpPr>
              <a:cxnSpLocks/>
              <a:stCxn id="1407" idx="3"/>
              <a:endCxn id="140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0" name="矩形 1409">
              <a:extLst>
                <a:ext uri="{FF2B5EF4-FFF2-40B4-BE49-F238E27FC236}">
                  <a16:creationId xmlns:a16="http://schemas.microsoft.com/office/drawing/2014/main" id="{D35E38E9-1084-56D8-EE5F-0FD550B83E09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11" name="文本框 1410">
              <a:extLst>
                <a:ext uri="{FF2B5EF4-FFF2-40B4-BE49-F238E27FC236}">
                  <a16:creationId xmlns:a16="http://schemas.microsoft.com/office/drawing/2014/main" id="{B7A79120-5DB6-7801-3DD6-B3B5BA51D5CB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412" name="圆角矩形 1411">
            <a:extLst>
              <a:ext uri="{FF2B5EF4-FFF2-40B4-BE49-F238E27FC236}">
                <a16:creationId xmlns:a16="http://schemas.microsoft.com/office/drawing/2014/main" id="{BABF19D2-9057-B121-A4AB-6C3F1D3A30C1}"/>
              </a:ext>
            </a:extLst>
          </p:cNvPr>
          <p:cNvSpPr/>
          <p:nvPr/>
        </p:nvSpPr>
        <p:spPr>
          <a:xfrm>
            <a:off x="3429199" y="5869856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 Too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4" name="图形 1433">
            <a:extLst>
              <a:ext uri="{FF2B5EF4-FFF2-40B4-BE49-F238E27FC236}">
                <a16:creationId xmlns:a16="http://schemas.microsoft.com/office/drawing/2014/main" id="{6BF56023-9659-32A6-8F66-17D3A41467B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7045726" y="5324439"/>
            <a:ext cx="209382" cy="202839"/>
          </a:xfrm>
          <a:prstGeom prst="rect">
            <a:avLst/>
          </a:prstGeom>
        </p:spPr>
      </p:pic>
      <p:pic>
        <p:nvPicPr>
          <p:cNvPr id="1436" name="Picture 2" descr="Virtual Network Pricing | Microsoft Azure">
            <a:extLst>
              <a:ext uri="{FF2B5EF4-FFF2-40B4-BE49-F238E27FC236}">
                <a16:creationId xmlns:a16="http://schemas.microsoft.com/office/drawing/2014/main" id="{46D00626-7A19-495A-7B30-80EAA0BC4E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6234907" y="6342335"/>
            <a:ext cx="142282" cy="7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4" name="文本框 1443">
            <a:extLst>
              <a:ext uri="{FF2B5EF4-FFF2-40B4-BE49-F238E27FC236}">
                <a16:creationId xmlns:a16="http://schemas.microsoft.com/office/drawing/2014/main" id="{9E288C95-D98E-4349-0C3E-EEB7983F122C}"/>
              </a:ext>
            </a:extLst>
          </p:cNvPr>
          <p:cNvSpPr txBox="1"/>
          <p:nvPr/>
        </p:nvSpPr>
        <p:spPr>
          <a:xfrm>
            <a:off x="6362379" y="6352256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Net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243" name="肘形连接符 1242">
            <a:extLst>
              <a:ext uri="{FF2B5EF4-FFF2-40B4-BE49-F238E27FC236}">
                <a16:creationId xmlns:a16="http://schemas.microsoft.com/office/drawing/2014/main" id="{BD0843A2-6D4F-A5B7-F57E-CAEC534689FD}"/>
              </a:ext>
            </a:extLst>
          </p:cNvPr>
          <p:cNvCxnSpPr>
            <a:cxnSpLocks/>
            <a:stCxn id="402" idx="3"/>
            <a:endCxn id="213" idx="1"/>
          </p:cNvCxnSpPr>
          <p:nvPr/>
        </p:nvCxnSpPr>
        <p:spPr>
          <a:xfrm>
            <a:off x="3054531" y="5719257"/>
            <a:ext cx="374668" cy="163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50" name="文本框 1449">
            <a:extLst>
              <a:ext uri="{FF2B5EF4-FFF2-40B4-BE49-F238E27FC236}">
                <a16:creationId xmlns:a16="http://schemas.microsoft.com/office/drawing/2014/main" id="{BF6DF2F0-E143-8D82-2FB2-21D382E27E74}"/>
              </a:ext>
            </a:extLst>
          </p:cNvPr>
          <p:cNvSpPr txBox="1"/>
          <p:nvPr/>
        </p:nvSpPr>
        <p:spPr>
          <a:xfrm>
            <a:off x="7018328" y="553545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13" name="矩形 1512">
            <a:extLst>
              <a:ext uri="{FF2B5EF4-FFF2-40B4-BE49-F238E27FC236}">
                <a16:creationId xmlns:a16="http://schemas.microsoft.com/office/drawing/2014/main" id="{762B5AE3-DFCA-C4D9-FA3A-F8B652A6D8FE}"/>
              </a:ext>
            </a:extLst>
          </p:cNvPr>
          <p:cNvSpPr/>
          <p:nvPr/>
        </p:nvSpPr>
        <p:spPr>
          <a:xfrm>
            <a:off x="7782567" y="5260569"/>
            <a:ext cx="1833513" cy="868618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4" name="矩形 1513">
            <a:extLst>
              <a:ext uri="{FF2B5EF4-FFF2-40B4-BE49-F238E27FC236}">
                <a16:creationId xmlns:a16="http://schemas.microsoft.com/office/drawing/2014/main" id="{0AA9124A-624C-0632-AC36-DC7AD9C23D82}"/>
              </a:ext>
            </a:extLst>
          </p:cNvPr>
          <p:cNvSpPr/>
          <p:nvPr/>
        </p:nvSpPr>
        <p:spPr>
          <a:xfrm>
            <a:off x="7925315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5" name="文本框 1514">
            <a:extLst>
              <a:ext uri="{FF2B5EF4-FFF2-40B4-BE49-F238E27FC236}">
                <a16:creationId xmlns:a16="http://schemas.microsoft.com/office/drawing/2014/main" id="{FBABC98E-CB59-F399-D9C9-2B8DBD28719F}"/>
              </a:ext>
            </a:extLst>
          </p:cNvPr>
          <p:cNvSpPr txBox="1"/>
          <p:nvPr/>
        </p:nvSpPr>
        <p:spPr>
          <a:xfrm>
            <a:off x="7907443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23" name="文本框 1522">
            <a:extLst>
              <a:ext uri="{FF2B5EF4-FFF2-40B4-BE49-F238E27FC236}">
                <a16:creationId xmlns:a16="http://schemas.microsoft.com/office/drawing/2014/main" id="{F052E870-D4F9-5716-E83D-4383B2D62C4B}"/>
              </a:ext>
            </a:extLst>
          </p:cNvPr>
          <p:cNvSpPr txBox="1"/>
          <p:nvPr/>
        </p:nvSpPr>
        <p:spPr>
          <a:xfrm>
            <a:off x="8052273" y="607673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 Redundancy Storag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524" name="肘形连接符 1523">
            <a:extLst>
              <a:ext uri="{FF2B5EF4-FFF2-40B4-BE49-F238E27FC236}">
                <a16:creationId xmlns:a16="http://schemas.microsoft.com/office/drawing/2014/main" id="{FF5ECE1C-91A3-9028-F0BE-FE892C0EA47A}"/>
              </a:ext>
            </a:extLst>
          </p:cNvPr>
          <p:cNvCxnSpPr>
            <a:cxnSpLocks/>
            <a:stCxn id="1514" idx="1"/>
            <a:endCxn id="1434" idx="3"/>
          </p:cNvCxnSpPr>
          <p:nvPr/>
        </p:nvCxnSpPr>
        <p:spPr>
          <a:xfrm rot="10800000">
            <a:off x="7255109" y="5425859"/>
            <a:ext cx="670207" cy="236246"/>
          </a:xfrm>
          <a:prstGeom prst="bentConnector3">
            <a:avLst>
              <a:gd name="adj1" fmla="val 44315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30" name="矩形 1529">
            <a:extLst>
              <a:ext uri="{FF2B5EF4-FFF2-40B4-BE49-F238E27FC236}">
                <a16:creationId xmlns:a16="http://schemas.microsoft.com/office/drawing/2014/main" id="{D48AA340-C015-C8C3-AC08-B8204682AED3}"/>
              </a:ext>
            </a:extLst>
          </p:cNvPr>
          <p:cNvSpPr/>
          <p:nvPr/>
        </p:nvSpPr>
        <p:spPr>
          <a:xfrm>
            <a:off x="8485421" y="5325533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1" name="文本框 1530">
            <a:extLst>
              <a:ext uri="{FF2B5EF4-FFF2-40B4-BE49-F238E27FC236}">
                <a16:creationId xmlns:a16="http://schemas.microsoft.com/office/drawing/2014/main" id="{A59B75EF-6582-D22E-3C58-4B091BA6DF55}"/>
              </a:ext>
            </a:extLst>
          </p:cNvPr>
          <p:cNvSpPr txBox="1"/>
          <p:nvPr/>
        </p:nvSpPr>
        <p:spPr>
          <a:xfrm>
            <a:off x="8467549" y="5325533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3" name="矩形 1532">
            <a:extLst>
              <a:ext uri="{FF2B5EF4-FFF2-40B4-BE49-F238E27FC236}">
                <a16:creationId xmlns:a16="http://schemas.microsoft.com/office/drawing/2014/main" id="{3401679F-525D-411D-41D3-6FC83EF1EA62}"/>
              </a:ext>
            </a:extLst>
          </p:cNvPr>
          <p:cNvSpPr/>
          <p:nvPr/>
        </p:nvSpPr>
        <p:spPr>
          <a:xfrm>
            <a:off x="9053384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4" name="文本框 1533">
            <a:extLst>
              <a:ext uri="{FF2B5EF4-FFF2-40B4-BE49-F238E27FC236}">
                <a16:creationId xmlns:a16="http://schemas.microsoft.com/office/drawing/2014/main" id="{D985B58D-BD38-7AC0-CB64-3970684E9FAA}"/>
              </a:ext>
            </a:extLst>
          </p:cNvPr>
          <p:cNvSpPr txBox="1"/>
          <p:nvPr/>
        </p:nvSpPr>
        <p:spPr>
          <a:xfrm>
            <a:off x="9035512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SG" sz="900" b="1" dirty="0"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6" name="文本框 1535">
            <a:extLst>
              <a:ext uri="{FF2B5EF4-FFF2-40B4-BE49-F238E27FC236}">
                <a16:creationId xmlns:a16="http://schemas.microsoft.com/office/drawing/2014/main" id="{7BBF0E2D-824D-73D8-9831-879736CB37B1}"/>
              </a:ext>
            </a:extLst>
          </p:cNvPr>
          <p:cNvSpPr txBox="1"/>
          <p:nvPr/>
        </p:nvSpPr>
        <p:spPr>
          <a:xfrm>
            <a:off x="8032234" y="5828981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7" name="文本框 1536">
            <a:extLst>
              <a:ext uri="{FF2B5EF4-FFF2-40B4-BE49-F238E27FC236}">
                <a16:creationId xmlns:a16="http://schemas.microsoft.com/office/drawing/2014/main" id="{8E20E41F-C14B-EDA5-B1B3-0718A81BC6EC}"/>
              </a:ext>
            </a:extLst>
          </p:cNvPr>
          <p:cNvSpPr txBox="1"/>
          <p:nvPr/>
        </p:nvSpPr>
        <p:spPr>
          <a:xfrm>
            <a:off x="8579770" y="5828980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8" name="文本框 1537">
            <a:extLst>
              <a:ext uri="{FF2B5EF4-FFF2-40B4-BE49-F238E27FC236}">
                <a16:creationId xmlns:a16="http://schemas.microsoft.com/office/drawing/2014/main" id="{9AE38A27-FAC5-16C0-575D-6B375B73946D}"/>
              </a:ext>
            </a:extLst>
          </p:cNvPr>
          <p:cNvSpPr txBox="1"/>
          <p:nvPr/>
        </p:nvSpPr>
        <p:spPr>
          <a:xfrm>
            <a:off x="9152057" y="5835968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544" name="组合 1543">
            <a:extLst>
              <a:ext uri="{FF2B5EF4-FFF2-40B4-BE49-F238E27FC236}">
                <a16:creationId xmlns:a16="http://schemas.microsoft.com/office/drawing/2014/main" id="{C664FDE4-09A9-357A-FF79-60E41B3CB01C}"/>
              </a:ext>
            </a:extLst>
          </p:cNvPr>
          <p:cNvGrpSpPr/>
          <p:nvPr/>
        </p:nvGrpSpPr>
        <p:grpSpPr>
          <a:xfrm>
            <a:off x="7214676" y="3614484"/>
            <a:ext cx="223227" cy="223227"/>
            <a:chOff x="4995029" y="3593255"/>
            <a:chExt cx="223227" cy="223227"/>
          </a:xfrm>
        </p:grpSpPr>
        <p:pic>
          <p:nvPicPr>
            <p:cNvPr id="1545" name="图形 1544">
              <a:extLst>
                <a:ext uri="{FF2B5EF4-FFF2-40B4-BE49-F238E27FC236}">
                  <a16:creationId xmlns:a16="http://schemas.microsoft.com/office/drawing/2014/main" id="{6759BF26-1C3F-B208-5B25-CFF1FA612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546" name="矩形 1545">
              <a:extLst>
                <a:ext uri="{FF2B5EF4-FFF2-40B4-BE49-F238E27FC236}">
                  <a16:creationId xmlns:a16="http://schemas.microsoft.com/office/drawing/2014/main" id="{D7F68B9C-CA45-9942-6CE4-ED815AA154C4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23C49633-04AD-676F-45BD-A81A6D09A4E4}"/>
              </a:ext>
            </a:extLst>
          </p:cNvPr>
          <p:cNvCxnSpPr>
            <a:cxnSpLocks/>
            <a:stCxn id="1432" idx="3"/>
            <a:endCxn id="5" idx="2"/>
          </p:cNvCxnSpPr>
          <p:nvPr/>
        </p:nvCxnSpPr>
        <p:spPr>
          <a:xfrm flipV="1">
            <a:off x="7081972" y="2461739"/>
            <a:ext cx="2607747" cy="2683824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551" name="肘形连接符 1550">
            <a:extLst>
              <a:ext uri="{FF2B5EF4-FFF2-40B4-BE49-F238E27FC236}">
                <a16:creationId xmlns:a16="http://schemas.microsoft.com/office/drawing/2014/main" id="{BFD4F0AB-36CD-9DED-AFDA-410E94191A99}"/>
              </a:ext>
            </a:extLst>
          </p:cNvPr>
          <p:cNvCxnSpPr>
            <a:cxnSpLocks/>
            <a:stCxn id="1432" idx="3"/>
            <a:endCxn id="1545" idx="2"/>
          </p:cNvCxnSpPr>
          <p:nvPr/>
        </p:nvCxnSpPr>
        <p:spPr>
          <a:xfrm flipV="1">
            <a:off x="7081972" y="3837711"/>
            <a:ext cx="244318" cy="1307852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6001E82D-BBCF-BB5E-F2B8-1B5D7611EF41}"/>
              </a:ext>
            </a:extLst>
          </p:cNvPr>
          <p:cNvCxnSpPr>
            <a:cxnSpLocks/>
            <a:endCxn id="313" idx="2"/>
          </p:cNvCxnSpPr>
          <p:nvPr/>
        </p:nvCxnSpPr>
        <p:spPr>
          <a:xfrm flipH="1" flipV="1">
            <a:off x="5832202" y="3122690"/>
            <a:ext cx="1025799" cy="1006598"/>
          </a:xfrm>
          <a:prstGeom prst="bentConnector4">
            <a:avLst>
              <a:gd name="adj1" fmla="val -32570"/>
              <a:gd name="adj2" fmla="val 68648"/>
            </a:avLst>
          </a:prstGeom>
          <a:ln w="12700">
            <a:solidFill>
              <a:srgbClr val="0332FF"/>
            </a:solidFill>
            <a:prstDash val="solid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7C6F3B1F-B703-0A78-CE6B-02732DF2A796}"/>
              </a:ext>
            </a:extLst>
          </p:cNvPr>
          <p:cNvCxnSpPr>
            <a:cxnSpLocks/>
            <a:endCxn id="472" idx="2"/>
          </p:cNvCxnSpPr>
          <p:nvPr/>
        </p:nvCxnSpPr>
        <p:spPr>
          <a:xfrm flipV="1">
            <a:off x="6858001" y="2468174"/>
            <a:ext cx="710972" cy="166111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3476AACC-58D0-01B5-624F-AC6907610AF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568281C6-A87B-D429-8DC1-108C4AD9E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9D8F7DAE-011B-3BE1-B4A1-9920AB2F1962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92" name="直线箭头连接符 191">
            <a:extLst>
              <a:ext uri="{FF2B5EF4-FFF2-40B4-BE49-F238E27FC236}">
                <a16:creationId xmlns:a16="http://schemas.microsoft.com/office/drawing/2014/main" id="{CE54CE76-B48F-EFC1-C8DC-F4C7BBAC2E04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248" name="图片 247">
            <a:extLst>
              <a:ext uri="{FF2B5EF4-FFF2-40B4-BE49-F238E27FC236}">
                <a16:creationId xmlns:a16="http://schemas.microsoft.com/office/drawing/2014/main" id="{0AE4346B-9D9D-4D40-8346-7B0CC7FE34A4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7994265" y="5536350"/>
            <a:ext cx="239570" cy="239570"/>
          </a:xfrm>
          <a:prstGeom prst="rect">
            <a:avLst/>
          </a:prstGeom>
        </p:spPr>
      </p:pic>
      <p:pic>
        <p:nvPicPr>
          <p:cNvPr id="255" name="图片 254">
            <a:extLst>
              <a:ext uri="{FF2B5EF4-FFF2-40B4-BE49-F238E27FC236}">
                <a16:creationId xmlns:a16="http://schemas.microsoft.com/office/drawing/2014/main" id="{07F6437B-D649-8850-B332-E6177F5028A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8565765" y="5536350"/>
            <a:ext cx="239570" cy="239570"/>
          </a:xfrm>
          <a:prstGeom prst="rect">
            <a:avLst/>
          </a:prstGeom>
        </p:spPr>
      </p:pic>
      <p:pic>
        <p:nvPicPr>
          <p:cNvPr id="256" name="图片 255">
            <a:extLst>
              <a:ext uri="{FF2B5EF4-FFF2-40B4-BE49-F238E27FC236}">
                <a16:creationId xmlns:a16="http://schemas.microsoft.com/office/drawing/2014/main" id="{30AD707D-40FB-25FA-9FA9-013841FEB2A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115982" y="5536350"/>
            <a:ext cx="239570" cy="239570"/>
          </a:xfrm>
          <a:prstGeom prst="rect">
            <a:avLst/>
          </a:prstGeom>
        </p:spPr>
      </p:pic>
      <p:grpSp>
        <p:nvGrpSpPr>
          <p:cNvPr id="259" name="组合 258">
            <a:extLst>
              <a:ext uri="{FF2B5EF4-FFF2-40B4-BE49-F238E27FC236}">
                <a16:creationId xmlns:a16="http://schemas.microsoft.com/office/drawing/2014/main" id="{27E9047D-7A48-DA32-9C40-C0736BDF8E2E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260" name="七边形 259">
              <a:extLst>
                <a:ext uri="{FF2B5EF4-FFF2-40B4-BE49-F238E27FC236}">
                  <a16:creationId xmlns:a16="http://schemas.microsoft.com/office/drawing/2014/main" id="{50A906DC-3857-404F-4445-AE6A1E60C6B1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CE6A3649-8154-3609-A8FD-F95F2C753284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284" name="肘形连接符 283">
            <a:extLst>
              <a:ext uri="{FF2B5EF4-FFF2-40B4-BE49-F238E27FC236}">
                <a16:creationId xmlns:a16="http://schemas.microsoft.com/office/drawing/2014/main" id="{47D46AC0-7AA1-0CEA-9884-62D5961B785C}"/>
              </a:ext>
            </a:extLst>
          </p:cNvPr>
          <p:cNvCxnSpPr>
            <a:cxnSpLocks/>
            <a:endCxn id="1025" idx="0"/>
          </p:cNvCxnSpPr>
          <p:nvPr/>
        </p:nvCxnSpPr>
        <p:spPr>
          <a:xfrm>
            <a:off x="6858001" y="4129288"/>
            <a:ext cx="3171369" cy="68403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15" name="圆角矩形 314">
            <a:extLst>
              <a:ext uri="{FF2B5EF4-FFF2-40B4-BE49-F238E27FC236}">
                <a16:creationId xmlns:a16="http://schemas.microsoft.com/office/drawing/2014/main" id="{59ECC84A-B9A8-B187-849B-DD7373D240B9}"/>
              </a:ext>
            </a:extLst>
          </p:cNvPr>
          <p:cNvSpPr/>
          <p:nvPr/>
        </p:nvSpPr>
        <p:spPr>
          <a:xfrm>
            <a:off x="10507535" y="457108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D9D9D9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4A533A0-C67B-5F18-883A-A7ABD17E4579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254F4544-E8DF-5B56-7DDF-FD3D5C89503B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1" name="七边形 10">
              <a:extLst>
                <a:ext uri="{FF2B5EF4-FFF2-40B4-BE49-F238E27FC236}">
                  <a16:creationId xmlns:a16="http://schemas.microsoft.com/office/drawing/2014/main" id="{80776862-6CAA-1B27-70AD-CB5F32759FB2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23277C0-7DF4-1DEA-16B7-04BB36296E4C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1637A48F-2F7A-B51D-52E4-522B3C11F20A}"/>
              </a:ext>
            </a:extLst>
          </p:cNvPr>
          <p:cNvSpPr txBox="1"/>
          <p:nvPr/>
        </p:nvSpPr>
        <p:spPr>
          <a:xfrm>
            <a:off x="5096969" y="969429"/>
            <a:ext cx="1123187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git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bit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d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bucket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d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BAB011C3-1021-0902-D5C5-A6D30A6A9748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E148962-0B56-1E45-B076-5B326F94BB23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194" name="图形 193" descr="女性形象 纯色填充">
              <a:extLst>
                <a:ext uri="{FF2B5EF4-FFF2-40B4-BE49-F238E27FC236}">
                  <a16:creationId xmlns:a16="http://schemas.microsoft.com/office/drawing/2014/main" id="{7C4EFFEB-94BB-B88A-BAC5-E05F12B2A0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195" name="图形 194" descr="男性形象 纯色填充">
              <a:extLst>
                <a:ext uri="{FF2B5EF4-FFF2-40B4-BE49-F238E27FC236}">
                  <a16:creationId xmlns:a16="http://schemas.microsoft.com/office/drawing/2014/main" id="{2D12176A-576D-F120-B851-0E03CD622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196" name="文本框 195">
            <a:extLst>
              <a:ext uri="{FF2B5EF4-FFF2-40B4-BE49-F238E27FC236}">
                <a16:creationId xmlns:a16="http://schemas.microsoft.com/office/drawing/2014/main" id="{0E6A8847-4A85-3CC3-63F5-F84FCDD32F53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483">
            <a:extLst>
              <a:ext uri="{FF2B5EF4-FFF2-40B4-BE49-F238E27FC236}">
                <a16:creationId xmlns:a16="http://schemas.microsoft.com/office/drawing/2014/main" id="{8380F028-4BDC-F418-1344-81143683907B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8" name="组合 197">
            <a:extLst>
              <a:ext uri="{FF2B5EF4-FFF2-40B4-BE49-F238E27FC236}">
                <a16:creationId xmlns:a16="http://schemas.microsoft.com/office/drawing/2014/main" id="{280FF1E6-3AD5-7A4E-420D-6F091F39CB8A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199" name="图形 485" descr="女性形象 纯色填充">
              <a:extLst>
                <a:ext uri="{FF2B5EF4-FFF2-40B4-BE49-F238E27FC236}">
                  <a16:creationId xmlns:a16="http://schemas.microsoft.com/office/drawing/2014/main" id="{BFA8DF05-76C9-C0B0-8CC0-E87DC9975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0" name="图形 486" descr="男性形象 纯色填充">
              <a:extLst>
                <a:ext uri="{FF2B5EF4-FFF2-40B4-BE49-F238E27FC236}">
                  <a16:creationId xmlns:a16="http://schemas.microsoft.com/office/drawing/2014/main" id="{5C80A44B-CE2B-3A5A-A751-8929127B4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1" name="文本框 7">
            <a:extLst>
              <a:ext uri="{FF2B5EF4-FFF2-40B4-BE49-F238E27FC236}">
                <a16:creationId xmlns:a16="http://schemas.microsoft.com/office/drawing/2014/main" id="{CB5F23FC-FB4F-8DA5-1A6A-BBA11C7CF6B7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4850F756-921D-0149-7AB4-BFF36D5564A0}"/>
              </a:ext>
            </a:extLst>
          </p:cNvPr>
          <p:cNvSpPr txBox="1"/>
          <p:nvPr/>
        </p:nvSpPr>
        <p:spPr>
          <a:xfrm>
            <a:off x="3446853" y="5778458"/>
            <a:ext cx="38416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ACF8522A-470B-EC24-FB03-FCA639DE9455}"/>
              </a:ext>
            </a:extLst>
          </p:cNvPr>
          <p:cNvSpPr txBox="1"/>
          <p:nvPr/>
        </p:nvSpPr>
        <p:spPr>
          <a:xfrm>
            <a:off x="3446853" y="6047854"/>
            <a:ext cx="38105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A4B69DB7-F871-736C-E073-BEF6EB620180}"/>
              </a:ext>
            </a:extLst>
          </p:cNvPr>
          <p:cNvSpPr/>
          <p:nvPr/>
        </p:nvSpPr>
        <p:spPr>
          <a:xfrm>
            <a:off x="7773085" y="3706781"/>
            <a:ext cx="1838227" cy="1347837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4" name="文本框 1499">
            <a:extLst>
              <a:ext uri="{FF2B5EF4-FFF2-40B4-BE49-F238E27FC236}">
                <a16:creationId xmlns:a16="http://schemas.microsoft.com/office/drawing/2014/main" id="{C669EE8B-BF61-B348-2FB1-88D969B0370F}"/>
              </a:ext>
            </a:extLst>
          </p:cNvPr>
          <p:cNvSpPr txBox="1"/>
          <p:nvPr/>
        </p:nvSpPr>
        <p:spPr>
          <a:xfrm>
            <a:off x="8045466" y="501110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ure Database for MySQL – Flexible Server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9648731F-E815-7526-1F0C-D5BD2DA03BCC}"/>
              </a:ext>
            </a:extLst>
          </p:cNvPr>
          <p:cNvSpPr/>
          <p:nvPr/>
        </p:nvSpPr>
        <p:spPr>
          <a:xfrm>
            <a:off x="7820218" y="3747335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9" name="文本框 1463">
            <a:extLst>
              <a:ext uri="{FF2B5EF4-FFF2-40B4-BE49-F238E27FC236}">
                <a16:creationId xmlns:a16="http://schemas.microsoft.com/office/drawing/2014/main" id="{F3408A2F-3CFF-89B6-83AC-B257EF0711D4}"/>
              </a:ext>
            </a:extLst>
          </p:cNvPr>
          <p:cNvSpPr txBox="1"/>
          <p:nvPr/>
        </p:nvSpPr>
        <p:spPr>
          <a:xfrm>
            <a:off x="8062203" y="3695030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5" name="矩形 224">
            <a:extLst>
              <a:ext uri="{FF2B5EF4-FFF2-40B4-BE49-F238E27FC236}">
                <a16:creationId xmlns:a16="http://schemas.microsoft.com/office/drawing/2014/main" id="{F49D9F8C-D37E-5488-EC93-F62B8AD9E76A}"/>
              </a:ext>
            </a:extLst>
          </p:cNvPr>
          <p:cNvSpPr/>
          <p:nvPr/>
        </p:nvSpPr>
        <p:spPr>
          <a:xfrm>
            <a:off x="8002870" y="4103696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38" name="图形 1453">
            <a:extLst>
              <a:ext uri="{FF2B5EF4-FFF2-40B4-BE49-F238E27FC236}">
                <a16:creationId xmlns:a16="http://schemas.microsoft.com/office/drawing/2014/main" id="{B96F337F-103E-7E7D-8D4A-56B5D4DF1B6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8108098" y="4149416"/>
            <a:ext cx="258689" cy="258689"/>
          </a:xfrm>
          <a:prstGeom prst="rect">
            <a:avLst/>
          </a:prstGeom>
        </p:spPr>
      </p:pic>
      <p:sp>
        <p:nvSpPr>
          <p:cNvPr id="239" name="文本框 1459">
            <a:extLst>
              <a:ext uri="{FF2B5EF4-FFF2-40B4-BE49-F238E27FC236}">
                <a16:creationId xmlns:a16="http://schemas.microsoft.com/office/drawing/2014/main" id="{FF922C96-9FD4-AE2A-810D-9EB786A489A3}"/>
              </a:ext>
            </a:extLst>
          </p:cNvPr>
          <p:cNvSpPr txBox="1"/>
          <p:nvPr/>
        </p:nvSpPr>
        <p:spPr>
          <a:xfrm>
            <a:off x="8027464" y="4103810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0" name="文本框 1460">
            <a:extLst>
              <a:ext uri="{FF2B5EF4-FFF2-40B4-BE49-F238E27FC236}">
                <a16:creationId xmlns:a16="http://schemas.microsoft.com/office/drawing/2014/main" id="{CFACE620-DEB1-5A74-342B-22E28F0BBC5B}"/>
              </a:ext>
            </a:extLst>
          </p:cNvPr>
          <p:cNvSpPr txBox="1"/>
          <p:nvPr/>
        </p:nvSpPr>
        <p:spPr>
          <a:xfrm>
            <a:off x="7943713" y="3960341"/>
            <a:ext cx="62600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mar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1" name="矩形 240">
            <a:extLst>
              <a:ext uri="{FF2B5EF4-FFF2-40B4-BE49-F238E27FC236}">
                <a16:creationId xmlns:a16="http://schemas.microsoft.com/office/drawing/2014/main" id="{C6B375D6-36B6-EDE2-772D-AC13B657B25F}"/>
              </a:ext>
            </a:extLst>
          </p:cNvPr>
          <p:cNvSpPr/>
          <p:nvPr/>
        </p:nvSpPr>
        <p:spPr>
          <a:xfrm>
            <a:off x="8016663" y="4585976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42" name="图片 241">
            <a:extLst>
              <a:ext uri="{FF2B5EF4-FFF2-40B4-BE49-F238E27FC236}">
                <a16:creationId xmlns:a16="http://schemas.microsoft.com/office/drawing/2014/main" id="{C68A6378-3D50-C49D-9394-205435473DAC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065567" y="4654233"/>
            <a:ext cx="238143" cy="204803"/>
          </a:xfrm>
          <a:prstGeom prst="rect">
            <a:avLst/>
          </a:prstGeom>
        </p:spPr>
      </p:pic>
      <p:sp>
        <p:nvSpPr>
          <p:cNvPr id="243" name="文本框 1467">
            <a:extLst>
              <a:ext uri="{FF2B5EF4-FFF2-40B4-BE49-F238E27FC236}">
                <a16:creationId xmlns:a16="http://schemas.microsoft.com/office/drawing/2014/main" id="{48F8454F-6560-5D75-E4CD-93CF3487D9E2}"/>
              </a:ext>
            </a:extLst>
          </p:cNvPr>
          <p:cNvSpPr txBox="1"/>
          <p:nvPr/>
        </p:nvSpPr>
        <p:spPr>
          <a:xfrm>
            <a:off x="8015181" y="4593746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4" name="文本框 1468">
            <a:extLst>
              <a:ext uri="{FF2B5EF4-FFF2-40B4-BE49-F238E27FC236}">
                <a16:creationId xmlns:a16="http://schemas.microsoft.com/office/drawing/2014/main" id="{B6FB92C9-DF51-0FB2-8C44-C24CA5178855}"/>
              </a:ext>
            </a:extLst>
          </p:cNvPr>
          <p:cNvSpPr txBox="1"/>
          <p:nvPr/>
        </p:nvSpPr>
        <p:spPr>
          <a:xfrm>
            <a:off x="8298707" y="4695458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5" name="下箭头 244">
            <a:extLst>
              <a:ext uri="{FF2B5EF4-FFF2-40B4-BE49-F238E27FC236}">
                <a16:creationId xmlns:a16="http://schemas.microsoft.com/office/drawing/2014/main" id="{3ABA2EFC-E6DD-F81E-928D-7566FD5DE2E1}"/>
              </a:ext>
            </a:extLst>
          </p:cNvPr>
          <p:cNvSpPr/>
          <p:nvPr/>
        </p:nvSpPr>
        <p:spPr>
          <a:xfrm>
            <a:off x="8170708" y="4435209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4288AEF6-DC50-881A-D912-3869D96EF990}"/>
              </a:ext>
            </a:extLst>
          </p:cNvPr>
          <p:cNvSpPr/>
          <p:nvPr/>
        </p:nvSpPr>
        <p:spPr>
          <a:xfrm>
            <a:off x="7881493" y="3907208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7" name="矩形 246">
            <a:extLst>
              <a:ext uri="{FF2B5EF4-FFF2-40B4-BE49-F238E27FC236}">
                <a16:creationId xmlns:a16="http://schemas.microsoft.com/office/drawing/2014/main" id="{7BD8D314-7C1D-907E-3C93-432A7504C25B}"/>
              </a:ext>
            </a:extLst>
          </p:cNvPr>
          <p:cNvSpPr/>
          <p:nvPr/>
        </p:nvSpPr>
        <p:spPr>
          <a:xfrm>
            <a:off x="8722162" y="3754111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7" name="文本框 201">
            <a:extLst>
              <a:ext uri="{FF2B5EF4-FFF2-40B4-BE49-F238E27FC236}">
                <a16:creationId xmlns:a16="http://schemas.microsoft.com/office/drawing/2014/main" id="{B5E3E15C-80DC-A8FA-F881-C8959EF3C407}"/>
              </a:ext>
            </a:extLst>
          </p:cNvPr>
          <p:cNvSpPr txBox="1"/>
          <p:nvPr/>
        </p:nvSpPr>
        <p:spPr>
          <a:xfrm>
            <a:off x="8964147" y="3701806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049F821F-C6D9-1471-C4ED-28FA370A3F41}"/>
              </a:ext>
            </a:extLst>
          </p:cNvPr>
          <p:cNvSpPr/>
          <p:nvPr/>
        </p:nvSpPr>
        <p:spPr>
          <a:xfrm>
            <a:off x="8904814" y="4110472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76" name="图形 205">
            <a:extLst>
              <a:ext uri="{FF2B5EF4-FFF2-40B4-BE49-F238E27FC236}">
                <a16:creationId xmlns:a16="http://schemas.microsoft.com/office/drawing/2014/main" id="{F4CE7170-E94C-6CDE-955A-580F9CBB951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010042" y="4156192"/>
            <a:ext cx="258689" cy="258689"/>
          </a:xfrm>
          <a:prstGeom prst="rect">
            <a:avLst/>
          </a:prstGeom>
        </p:spPr>
      </p:pic>
      <p:sp>
        <p:nvSpPr>
          <p:cNvPr id="297" name="文本框 207">
            <a:extLst>
              <a:ext uri="{FF2B5EF4-FFF2-40B4-BE49-F238E27FC236}">
                <a16:creationId xmlns:a16="http://schemas.microsoft.com/office/drawing/2014/main" id="{B47193A1-FB72-53C8-00D7-125C042C685B}"/>
              </a:ext>
            </a:extLst>
          </p:cNvPr>
          <p:cNvSpPr txBox="1"/>
          <p:nvPr/>
        </p:nvSpPr>
        <p:spPr>
          <a:xfrm>
            <a:off x="8929408" y="411058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5" name="文本框 208">
            <a:extLst>
              <a:ext uri="{FF2B5EF4-FFF2-40B4-BE49-F238E27FC236}">
                <a16:creationId xmlns:a16="http://schemas.microsoft.com/office/drawing/2014/main" id="{08D27B00-E6AA-1B06-0C42-87C8E0B05E96}"/>
              </a:ext>
            </a:extLst>
          </p:cNvPr>
          <p:cNvSpPr txBox="1"/>
          <p:nvPr/>
        </p:nvSpPr>
        <p:spPr>
          <a:xfrm>
            <a:off x="8802059" y="3962387"/>
            <a:ext cx="694976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6" name="矩形 315">
            <a:extLst>
              <a:ext uri="{FF2B5EF4-FFF2-40B4-BE49-F238E27FC236}">
                <a16:creationId xmlns:a16="http://schemas.microsoft.com/office/drawing/2014/main" id="{F3E0EABE-298A-9A74-D495-CD19F3CD3DE7}"/>
              </a:ext>
            </a:extLst>
          </p:cNvPr>
          <p:cNvSpPr/>
          <p:nvPr/>
        </p:nvSpPr>
        <p:spPr>
          <a:xfrm>
            <a:off x="8918607" y="4592752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17" name="图片 316">
            <a:extLst>
              <a:ext uri="{FF2B5EF4-FFF2-40B4-BE49-F238E27FC236}">
                <a16:creationId xmlns:a16="http://schemas.microsoft.com/office/drawing/2014/main" id="{144D567B-6DFD-3D46-9C82-5423E55EF249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967511" y="4661009"/>
            <a:ext cx="238143" cy="204803"/>
          </a:xfrm>
          <a:prstGeom prst="rect">
            <a:avLst/>
          </a:prstGeom>
        </p:spPr>
      </p:pic>
      <p:sp>
        <p:nvSpPr>
          <p:cNvPr id="318" name="文本框 217">
            <a:extLst>
              <a:ext uri="{FF2B5EF4-FFF2-40B4-BE49-F238E27FC236}">
                <a16:creationId xmlns:a16="http://schemas.microsoft.com/office/drawing/2014/main" id="{8A8921EA-328C-2BCA-4246-DBD2109D2F40}"/>
              </a:ext>
            </a:extLst>
          </p:cNvPr>
          <p:cNvSpPr txBox="1"/>
          <p:nvPr/>
        </p:nvSpPr>
        <p:spPr>
          <a:xfrm>
            <a:off x="8917125" y="4600522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9" name="文本框 218">
            <a:extLst>
              <a:ext uri="{FF2B5EF4-FFF2-40B4-BE49-F238E27FC236}">
                <a16:creationId xmlns:a16="http://schemas.microsoft.com/office/drawing/2014/main" id="{C3B79136-CDA9-7611-8725-5D6B698AA746}"/>
              </a:ext>
            </a:extLst>
          </p:cNvPr>
          <p:cNvSpPr txBox="1"/>
          <p:nvPr/>
        </p:nvSpPr>
        <p:spPr>
          <a:xfrm>
            <a:off x="9200651" y="4702234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下箭头 319">
            <a:extLst>
              <a:ext uri="{FF2B5EF4-FFF2-40B4-BE49-F238E27FC236}">
                <a16:creationId xmlns:a16="http://schemas.microsoft.com/office/drawing/2014/main" id="{02BC5E70-E69A-A1D9-E393-EA8E2FA59BAF}"/>
              </a:ext>
            </a:extLst>
          </p:cNvPr>
          <p:cNvSpPr/>
          <p:nvPr/>
        </p:nvSpPr>
        <p:spPr>
          <a:xfrm>
            <a:off x="9072652" y="4441985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1" name="矩形 320">
            <a:extLst>
              <a:ext uri="{FF2B5EF4-FFF2-40B4-BE49-F238E27FC236}">
                <a16:creationId xmlns:a16="http://schemas.microsoft.com/office/drawing/2014/main" id="{0522FED1-7E5F-856A-CD56-0E2B8AD5ADE7}"/>
              </a:ext>
            </a:extLst>
          </p:cNvPr>
          <p:cNvSpPr/>
          <p:nvPr/>
        </p:nvSpPr>
        <p:spPr>
          <a:xfrm>
            <a:off x="8783437" y="3913984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4" name="下箭头 323">
            <a:extLst>
              <a:ext uri="{FF2B5EF4-FFF2-40B4-BE49-F238E27FC236}">
                <a16:creationId xmlns:a16="http://schemas.microsoft.com/office/drawing/2014/main" id="{2FD3E240-BBD5-D556-A968-BC15BC5A11CE}"/>
              </a:ext>
            </a:extLst>
          </p:cNvPr>
          <p:cNvSpPr/>
          <p:nvPr/>
        </p:nvSpPr>
        <p:spPr>
          <a:xfrm rot="16200000">
            <a:off x="8656977" y="4560197"/>
            <a:ext cx="126410" cy="390333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5" name="文本框 240">
            <a:extLst>
              <a:ext uri="{FF2B5EF4-FFF2-40B4-BE49-F238E27FC236}">
                <a16:creationId xmlns:a16="http://schemas.microsoft.com/office/drawing/2014/main" id="{A5D8B565-14CA-0AEB-B08E-CE49E9FDE7C2}"/>
              </a:ext>
            </a:extLst>
          </p:cNvPr>
          <p:cNvSpPr txBox="1"/>
          <p:nvPr/>
        </p:nvSpPr>
        <p:spPr>
          <a:xfrm>
            <a:off x="8484777" y="4406918"/>
            <a:ext cx="423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dund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plicatio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56" name="肘形连接符 1455">
            <a:extLst>
              <a:ext uri="{FF2B5EF4-FFF2-40B4-BE49-F238E27FC236}">
                <a16:creationId xmlns:a16="http://schemas.microsoft.com/office/drawing/2014/main" id="{FDDA8947-BB3E-AF13-CB6E-8D35AC35308E}"/>
              </a:ext>
            </a:extLst>
          </p:cNvPr>
          <p:cNvCxnSpPr>
            <a:cxnSpLocks/>
            <a:stCxn id="246" idx="1"/>
            <a:endCxn id="1434" idx="3"/>
          </p:cNvCxnSpPr>
          <p:nvPr/>
        </p:nvCxnSpPr>
        <p:spPr>
          <a:xfrm rot="10800000" flipV="1">
            <a:off x="7255109" y="4415963"/>
            <a:ext cx="626385" cy="1009895"/>
          </a:xfrm>
          <a:prstGeom prst="bentConnector3">
            <a:avLst>
              <a:gd name="adj1" fmla="val 40521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26" name="文本框 325">
            <a:extLst>
              <a:ext uri="{FF2B5EF4-FFF2-40B4-BE49-F238E27FC236}">
                <a16:creationId xmlns:a16="http://schemas.microsoft.com/office/drawing/2014/main" id="{D24E27D5-89BE-2613-782E-0374DE42184B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4" name="文本框 393">
            <a:extLst>
              <a:ext uri="{FF2B5EF4-FFF2-40B4-BE49-F238E27FC236}">
                <a16:creationId xmlns:a16="http://schemas.microsoft.com/office/drawing/2014/main" id="{38BE3023-3781-561B-E96F-0938C9F61A6C}"/>
              </a:ext>
            </a:extLst>
          </p:cNvPr>
          <p:cNvSpPr txBox="1"/>
          <p:nvPr/>
        </p:nvSpPr>
        <p:spPr>
          <a:xfrm>
            <a:off x="2596864" y="3786071"/>
            <a:ext cx="6486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-aks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1" name="组合 400">
            <a:extLst>
              <a:ext uri="{FF2B5EF4-FFF2-40B4-BE49-F238E27FC236}">
                <a16:creationId xmlns:a16="http://schemas.microsoft.com/office/drawing/2014/main" id="{AE9F3ACD-CEAC-D08E-7461-8DD122CB93C4}"/>
              </a:ext>
            </a:extLst>
          </p:cNvPr>
          <p:cNvGrpSpPr/>
          <p:nvPr/>
        </p:nvGrpSpPr>
        <p:grpSpPr>
          <a:xfrm>
            <a:off x="2122497" y="6069419"/>
            <a:ext cx="496363" cy="269875"/>
            <a:chOff x="3073881" y="4202802"/>
            <a:chExt cx="496363" cy="269875"/>
          </a:xfrm>
        </p:grpSpPr>
        <p:sp>
          <p:nvSpPr>
            <p:cNvPr id="410" name="矩形 409">
              <a:extLst>
                <a:ext uri="{FF2B5EF4-FFF2-40B4-BE49-F238E27FC236}">
                  <a16:creationId xmlns:a16="http://schemas.microsoft.com/office/drawing/2014/main" id="{9312FD35-3262-D01D-F682-79B82E8B219D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18" name="图片 417">
              <a:extLst>
                <a:ext uri="{FF2B5EF4-FFF2-40B4-BE49-F238E27FC236}">
                  <a16:creationId xmlns:a16="http://schemas.microsoft.com/office/drawing/2014/main" id="{04A897A2-0DEE-A504-1A65-9C3ACAC254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421" name="图片 420">
              <a:extLst>
                <a:ext uri="{FF2B5EF4-FFF2-40B4-BE49-F238E27FC236}">
                  <a16:creationId xmlns:a16="http://schemas.microsoft.com/office/drawing/2014/main" id="{D7FC184F-CF74-81EE-E5A0-A86BBEF95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424" name="肘形连接符 423">
              <a:extLst>
                <a:ext uri="{FF2B5EF4-FFF2-40B4-BE49-F238E27FC236}">
                  <a16:creationId xmlns:a16="http://schemas.microsoft.com/office/drawing/2014/main" id="{045D67F3-87EA-5E1B-BA9E-67520F18BF21}"/>
                </a:ext>
              </a:extLst>
            </p:cNvPr>
            <p:cNvCxnSpPr>
              <a:cxnSpLocks/>
              <a:stCxn id="418" idx="3"/>
              <a:endCxn id="421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5" name="文本框 1071">
              <a:extLst>
                <a:ext uri="{FF2B5EF4-FFF2-40B4-BE49-F238E27FC236}">
                  <a16:creationId xmlns:a16="http://schemas.microsoft.com/office/drawing/2014/main" id="{FFCC9242-CEDE-06E7-5D1C-EA7791B429DD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402" name="图片 401">
            <a:extLst>
              <a:ext uri="{FF2B5EF4-FFF2-40B4-BE49-F238E27FC236}">
                <a16:creationId xmlns:a16="http://schemas.microsoft.com/office/drawing/2014/main" id="{5DE8AD54-C22A-6CE9-9F9D-0BEE6684B93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1292" y="5625657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文本框 196">
            <a:extLst>
              <a:ext uri="{FF2B5EF4-FFF2-40B4-BE49-F238E27FC236}">
                <a16:creationId xmlns:a16="http://schemas.microsoft.com/office/drawing/2014/main" id="{0E630060-055B-6A18-043E-46E958B2CCB0}"/>
              </a:ext>
            </a:extLst>
          </p:cNvPr>
          <p:cNvSpPr txBox="1"/>
          <p:nvPr/>
        </p:nvSpPr>
        <p:spPr>
          <a:xfrm>
            <a:off x="2258762" y="636953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SG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25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07" name="肘形连接符 406">
            <a:extLst>
              <a:ext uri="{FF2B5EF4-FFF2-40B4-BE49-F238E27FC236}">
                <a16:creationId xmlns:a16="http://schemas.microsoft.com/office/drawing/2014/main" id="{38B34058-EAA6-9BAC-D887-AE57649B3E28}"/>
              </a:ext>
            </a:extLst>
          </p:cNvPr>
          <p:cNvCxnSpPr>
            <a:cxnSpLocks/>
            <a:stCxn id="410" idx="3"/>
            <a:endCxn id="402" idx="1"/>
          </p:cNvCxnSpPr>
          <p:nvPr/>
        </p:nvCxnSpPr>
        <p:spPr>
          <a:xfrm flipV="1">
            <a:off x="2618860" y="5719257"/>
            <a:ext cx="242432" cy="485100"/>
          </a:xfrm>
          <a:prstGeom prst="bentConnector3">
            <a:avLst>
              <a:gd name="adj1" fmla="val 28012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08" name="图片 407">
            <a:extLst>
              <a:ext uri="{FF2B5EF4-FFF2-40B4-BE49-F238E27FC236}">
                <a16:creationId xmlns:a16="http://schemas.microsoft.com/office/drawing/2014/main" id="{B51A3551-97DB-0C95-297E-1D734737C13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7642" y="6209353"/>
            <a:ext cx="193239" cy="1872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09" name="肘形连接符 408">
            <a:extLst>
              <a:ext uri="{FF2B5EF4-FFF2-40B4-BE49-F238E27FC236}">
                <a16:creationId xmlns:a16="http://schemas.microsoft.com/office/drawing/2014/main" id="{4EAE5E8F-A2A6-D905-BDAA-E7860BEFEE10}"/>
              </a:ext>
            </a:extLst>
          </p:cNvPr>
          <p:cNvCxnSpPr>
            <a:cxnSpLocks/>
            <a:stCxn id="410" idx="3"/>
            <a:endCxn id="408" idx="1"/>
          </p:cNvCxnSpPr>
          <p:nvPr/>
        </p:nvCxnSpPr>
        <p:spPr>
          <a:xfrm>
            <a:off x="2618860" y="6204357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30" name="肘形连接符 429">
            <a:extLst>
              <a:ext uri="{FF2B5EF4-FFF2-40B4-BE49-F238E27FC236}">
                <a16:creationId xmlns:a16="http://schemas.microsoft.com/office/drawing/2014/main" id="{6A0E466D-3E10-8515-728B-507142219C15}"/>
              </a:ext>
            </a:extLst>
          </p:cNvPr>
          <p:cNvCxnSpPr>
            <a:cxnSpLocks/>
            <a:stCxn id="408" idx="3"/>
            <a:endCxn id="1412" idx="1"/>
          </p:cNvCxnSpPr>
          <p:nvPr/>
        </p:nvCxnSpPr>
        <p:spPr>
          <a:xfrm flipV="1">
            <a:off x="3060881" y="5962590"/>
            <a:ext cx="368318" cy="34036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713BC45B-EBA1-2B63-21A9-3A40D46616DC}"/>
              </a:ext>
            </a:extLst>
          </p:cNvPr>
          <p:cNvSpPr txBox="1"/>
          <p:nvPr/>
        </p:nvSpPr>
        <p:spPr>
          <a:xfrm>
            <a:off x="2715471" y="5829104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6" name="文本框 435">
            <a:extLst>
              <a:ext uri="{FF2B5EF4-FFF2-40B4-BE49-F238E27FC236}">
                <a16:creationId xmlns:a16="http://schemas.microsoft.com/office/drawing/2014/main" id="{F86A5277-51D4-65D3-628C-754B270928F4}"/>
              </a:ext>
            </a:extLst>
          </p:cNvPr>
          <p:cNvSpPr txBox="1"/>
          <p:nvPr/>
        </p:nvSpPr>
        <p:spPr>
          <a:xfrm>
            <a:off x="2676500" y="6408155"/>
            <a:ext cx="15274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er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4FD1CAF-7062-FA68-8918-A6A01C8447FE}"/>
              </a:ext>
            </a:extLst>
          </p:cNvPr>
          <p:cNvSpPr txBox="1"/>
          <p:nvPr/>
        </p:nvSpPr>
        <p:spPr>
          <a:xfrm>
            <a:off x="3334176" y="967045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.fusioncore.prod.lz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4" name="文本框 203">
            <a:extLst>
              <a:ext uri="{FF2B5EF4-FFF2-40B4-BE49-F238E27FC236}">
                <a16:creationId xmlns:a16="http://schemas.microsoft.com/office/drawing/2014/main" id="{FFB7738C-7808-5CBF-2E87-71D0FA27A919}"/>
              </a:ext>
            </a:extLst>
          </p:cNvPr>
          <p:cNvSpPr txBox="1"/>
          <p:nvPr/>
        </p:nvSpPr>
        <p:spPr>
          <a:xfrm>
            <a:off x="944300" y="2750206"/>
            <a:ext cx="49545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sg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83E10BA7-C2A4-CDF7-1CC5-CA7B52EE948B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40.48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i-prod.gw.cloudsg1.sg.singtelgroup.net</a:t>
            </a: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5AC003F5-FB0A-3592-7655-30A8D7D27086}"/>
              </a:ext>
            </a:extLst>
          </p:cNvPr>
          <p:cNvSpPr/>
          <p:nvPr/>
        </p:nvSpPr>
        <p:spPr>
          <a:xfrm>
            <a:off x="3429199" y="4878804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3110A4AC-F9A2-42D5-D8EE-F416E07E6EB5}"/>
              </a:ext>
            </a:extLst>
          </p:cNvPr>
          <p:cNvSpPr/>
          <p:nvPr/>
        </p:nvSpPr>
        <p:spPr>
          <a:xfrm>
            <a:off x="3992833" y="4879062"/>
            <a:ext cx="2861240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2146B5C1-738F-1CE9-8763-D33689CF6805}"/>
              </a:ext>
            </a:extLst>
          </p:cNvPr>
          <p:cNvGrpSpPr/>
          <p:nvPr/>
        </p:nvGrpSpPr>
        <p:grpSpPr>
          <a:xfrm>
            <a:off x="4191720" y="4915975"/>
            <a:ext cx="497590" cy="246474"/>
            <a:chOff x="4011398" y="4190029"/>
            <a:chExt cx="497590" cy="224067"/>
          </a:xfrm>
        </p:grpSpPr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A51F886D-BF5E-9928-06B7-E1EEE812B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03" name="图片 202">
              <a:extLst>
                <a:ext uri="{FF2B5EF4-FFF2-40B4-BE49-F238E27FC236}">
                  <a16:creationId xmlns:a16="http://schemas.microsoft.com/office/drawing/2014/main" id="{3194B95F-55C1-EA16-2B55-03BCB0C2F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07" name="肘形连接符 206">
              <a:extLst>
                <a:ext uri="{FF2B5EF4-FFF2-40B4-BE49-F238E27FC236}">
                  <a16:creationId xmlns:a16="http://schemas.microsoft.com/office/drawing/2014/main" id="{E7265B86-F10E-481E-247F-54BD29C4B774}"/>
                </a:ext>
              </a:extLst>
            </p:cNvPr>
            <p:cNvCxnSpPr>
              <a:cxnSpLocks/>
              <a:stCxn id="38" idx="3"/>
              <a:endCxn id="203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矩形 214">
              <a:extLst>
                <a:ext uri="{FF2B5EF4-FFF2-40B4-BE49-F238E27FC236}">
                  <a16:creationId xmlns:a16="http://schemas.microsoft.com/office/drawing/2014/main" id="{DA1872F2-3BBB-A45C-5363-AC610B95CAEE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16" name="文本框 215">
              <a:extLst>
                <a:ext uri="{FF2B5EF4-FFF2-40B4-BE49-F238E27FC236}">
                  <a16:creationId xmlns:a16="http://schemas.microsoft.com/office/drawing/2014/main" id="{ADDEFDD0-BA08-14FE-683A-CD20D8BBD23F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17" name="组合 216">
            <a:extLst>
              <a:ext uri="{FF2B5EF4-FFF2-40B4-BE49-F238E27FC236}">
                <a16:creationId xmlns:a16="http://schemas.microsoft.com/office/drawing/2014/main" id="{FFDF47F9-6BBB-1934-A391-120F34D01DE4}"/>
              </a:ext>
            </a:extLst>
          </p:cNvPr>
          <p:cNvGrpSpPr/>
          <p:nvPr/>
        </p:nvGrpSpPr>
        <p:grpSpPr>
          <a:xfrm>
            <a:off x="5202982" y="4911941"/>
            <a:ext cx="497590" cy="246474"/>
            <a:chOff x="4011398" y="4190029"/>
            <a:chExt cx="497590" cy="224067"/>
          </a:xfrm>
        </p:grpSpPr>
        <p:pic>
          <p:nvPicPr>
            <p:cNvPr id="220" name="图片 219">
              <a:extLst>
                <a:ext uri="{FF2B5EF4-FFF2-40B4-BE49-F238E27FC236}">
                  <a16:creationId xmlns:a16="http://schemas.microsoft.com/office/drawing/2014/main" id="{82738481-646A-C3EF-F53B-1FF39BB22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21" name="图片 220">
              <a:extLst>
                <a:ext uri="{FF2B5EF4-FFF2-40B4-BE49-F238E27FC236}">
                  <a16:creationId xmlns:a16="http://schemas.microsoft.com/office/drawing/2014/main" id="{CF326184-3B34-A934-4AB1-73888DD1B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22" name="肘形连接符 221">
              <a:extLst>
                <a:ext uri="{FF2B5EF4-FFF2-40B4-BE49-F238E27FC236}">
                  <a16:creationId xmlns:a16="http://schemas.microsoft.com/office/drawing/2014/main" id="{47E0AE50-DE53-2F95-9404-6A596D80F2A2}"/>
                </a:ext>
              </a:extLst>
            </p:cNvPr>
            <p:cNvCxnSpPr>
              <a:cxnSpLocks/>
              <a:stCxn id="220" idx="3"/>
              <a:endCxn id="221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矩形 222">
              <a:extLst>
                <a:ext uri="{FF2B5EF4-FFF2-40B4-BE49-F238E27FC236}">
                  <a16:creationId xmlns:a16="http://schemas.microsoft.com/office/drawing/2014/main" id="{5F365EB7-E08E-5DB2-CD2F-4A67B1546A1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4" name="文本框 223">
              <a:extLst>
                <a:ext uri="{FF2B5EF4-FFF2-40B4-BE49-F238E27FC236}">
                  <a16:creationId xmlns:a16="http://schemas.microsoft.com/office/drawing/2014/main" id="{F9DAF7CA-A279-258F-B5AD-54F2BA8AC6D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26" name="组合 225">
            <a:extLst>
              <a:ext uri="{FF2B5EF4-FFF2-40B4-BE49-F238E27FC236}">
                <a16:creationId xmlns:a16="http://schemas.microsoft.com/office/drawing/2014/main" id="{70D45F0A-5C4F-D203-49B0-E69CFF32D059}"/>
              </a:ext>
            </a:extLst>
          </p:cNvPr>
          <p:cNvGrpSpPr/>
          <p:nvPr/>
        </p:nvGrpSpPr>
        <p:grpSpPr>
          <a:xfrm>
            <a:off x="6243341" y="4917744"/>
            <a:ext cx="497590" cy="246474"/>
            <a:chOff x="4011398" y="4190029"/>
            <a:chExt cx="497590" cy="224067"/>
          </a:xfrm>
        </p:grpSpPr>
        <p:pic>
          <p:nvPicPr>
            <p:cNvPr id="227" name="图片 226">
              <a:extLst>
                <a:ext uri="{FF2B5EF4-FFF2-40B4-BE49-F238E27FC236}">
                  <a16:creationId xmlns:a16="http://schemas.microsoft.com/office/drawing/2014/main" id="{B3A1691C-6A78-EB07-98E5-9DD49660F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28" name="图片 227">
              <a:extLst>
                <a:ext uri="{FF2B5EF4-FFF2-40B4-BE49-F238E27FC236}">
                  <a16:creationId xmlns:a16="http://schemas.microsoft.com/office/drawing/2014/main" id="{80AD7A17-19D6-967A-6098-9843BB930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29" name="肘形连接符 228">
              <a:extLst>
                <a:ext uri="{FF2B5EF4-FFF2-40B4-BE49-F238E27FC236}">
                  <a16:creationId xmlns:a16="http://schemas.microsoft.com/office/drawing/2014/main" id="{4680B68B-B34C-5B8E-150C-FADC4E950A09}"/>
                </a:ext>
              </a:extLst>
            </p:cNvPr>
            <p:cNvCxnSpPr>
              <a:cxnSpLocks/>
              <a:stCxn id="227" idx="3"/>
              <a:endCxn id="22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矩形 229">
              <a:extLst>
                <a:ext uri="{FF2B5EF4-FFF2-40B4-BE49-F238E27FC236}">
                  <a16:creationId xmlns:a16="http://schemas.microsoft.com/office/drawing/2014/main" id="{E00E71E1-DFBC-6A7F-30F6-502F8D303865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31" name="文本框 230">
              <a:extLst>
                <a:ext uri="{FF2B5EF4-FFF2-40B4-BE49-F238E27FC236}">
                  <a16:creationId xmlns:a16="http://schemas.microsoft.com/office/drawing/2014/main" id="{8A5183BA-9DC2-FCFF-4932-29410C906CC8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32" name="圆角矩形 231">
            <a:extLst>
              <a:ext uri="{FF2B5EF4-FFF2-40B4-BE49-F238E27FC236}">
                <a16:creationId xmlns:a16="http://schemas.microsoft.com/office/drawing/2014/main" id="{AFCC744C-EA10-FEDE-BDA3-68E694D75804}"/>
              </a:ext>
            </a:extLst>
          </p:cNvPr>
          <p:cNvSpPr/>
          <p:nvPr/>
        </p:nvSpPr>
        <p:spPr>
          <a:xfrm>
            <a:off x="3429199" y="4881771"/>
            <a:ext cx="45065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aS Application</a:t>
            </a:r>
          </a:p>
          <a:p>
            <a:pPr algn="ctr"/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ontainer Network)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130AFDB4-F535-7A91-3C06-BEB83D146F80}"/>
              </a:ext>
            </a:extLst>
          </p:cNvPr>
          <p:cNvSpPr/>
          <p:nvPr/>
        </p:nvSpPr>
        <p:spPr>
          <a:xfrm>
            <a:off x="3429199" y="5231130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E059A6DF-2C05-EF3E-7F10-E4BABF8BE67C}"/>
              </a:ext>
            </a:extLst>
          </p:cNvPr>
          <p:cNvSpPr/>
          <p:nvPr/>
        </p:nvSpPr>
        <p:spPr>
          <a:xfrm>
            <a:off x="3992832" y="5231388"/>
            <a:ext cx="2866783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35" name="组合 234">
            <a:extLst>
              <a:ext uri="{FF2B5EF4-FFF2-40B4-BE49-F238E27FC236}">
                <a16:creationId xmlns:a16="http://schemas.microsoft.com/office/drawing/2014/main" id="{28470F4B-46B3-5F14-E350-194480544F33}"/>
              </a:ext>
            </a:extLst>
          </p:cNvPr>
          <p:cNvGrpSpPr/>
          <p:nvPr/>
        </p:nvGrpSpPr>
        <p:grpSpPr>
          <a:xfrm>
            <a:off x="4191720" y="5268301"/>
            <a:ext cx="497590" cy="246474"/>
            <a:chOff x="4011398" y="4190029"/>
            <a:chExt cx="497590" cy="224067"/>
          </a:xfrm>
        </p:grpSpPr>
        <p:pic>
          <p:nvPicPr>
            <p:cNvPr id="236" name="图片 235">
              <a:extLst>
                <a:ext uri="{FF2B5EF4-FFF2-40B4-BE49-F238E27FC236}">
                  <a16:creationId xmlns:a16="http://schemas.microsoft.com/office/drawing/2014/main" id="{91A87BF3-C9FB-62C6-2870-1A1EED642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37" name="图片 236">
              <a:extLst>
                <a:ext uri="{FF2B5EF4-FFF2-40B4-BE49-F238E27FC236}">
                  <a16:creationId xmlns:a16="http://schemas.microsoft.com/office/drawing/2014/main" id="{130720BE-0E65-2E71-96F2-A01F5B65F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78" name="肘形连接符 277">
              <a:extLst>
                <a:ext uri="{FF2B5EF4-FFF2-40B4-BE49-F238E27FC236}">
                  <a16:creationId xmlns:a16="http://schemas.microsoft.com/office/drawing/2014/main" id="{C36B0DD5-9009-E98F-F306-21867DE1A101}"/>
                </a:ext>
              </a:extLst>
            </p:cNvPr>
            <p:cNvCxnSpPr>
              <a:cxnSpLocks/>
              <a:stCxn id="236" idx="3"/>
              <a:endCxn id="237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2" name="矩形 281">
              <a:extLst>
                <a:ext uri="{FF2B5EF4-FFF2-40B4-BE49-F238E27FC236}">
                  <a16:creationId xmlns:a16="http://schemas.microsoft.com/office/drawing/2014/main" id="{D250FB42-022B-FF46-55AC-FF442B38778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28" name="文本框 327">
              <a:extLst>
                <a:ext uri="{FF2B5EF4-FFF2-40B4-BE49-F238E27FC236}">
                  <a16:creationId xmlns:a16="http://schemas.microsoft.com/office/drawing/2014/main" id="{982D5CC2-F2C4-0A2E-4431-AE9CDAB86129}"/>
                </a:ext>
              </a:extLst>
            </p:cNvPr>
            <p:cNvSpPr txBox="1"/>
            <p:nvPr/>
          </p:nvSpPr>
          <p:spPr>
            <a:xfrm>
              <a:off x="4135903" y="4356608"/>
              <a:ext cx="242298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46" name="组合 345">
            <a:extLst>
              <a:ext uri="{FF2B5EF4-FFF2-40B4-BE49-F238E27FC236}">
                <a16:creationId xmlns:a16="http://schemas.microsoft.com/office/drawing/2014/main" id="{B25D04D9-DA16-C711-5ACE-6AE1D340071F}"/>
              </a:ext>
            </a:extLst>
          </p:cNvPr>
          <p:cNvGrpSpPr/>
          <p:nvPr/>
        </p:nvGrpSpPr>
        <p:grpSpPr>
          <a:xfrm>
            <a:off x="5202982" y="5264267"/>
            <a:ext cx="497590" cy="246474"/>
            <a:chOff x="4011398" y="4190029"/>
            <a:chExt cx="497590" cy="224067"/>
          </a:xfrm>
        </p:grpSpPr>
        <p:pic>
          <p:nvPicPr>
            <p:cNvPr id="349" name="图片 348">
              <a:extLst>
                <a:ext uri="{FF2B5EF4-FFF2-40B4-BE49-F238E27FC236}">
                  <a16:creationId xmlns:a16="http://schemas.microsoft.com/office/drawing/2014/main" id="{577736BB-F07C-6221-FAF8-83ED7EAC9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350" name="图片 349">
              <a:extLst>
                <a:ext uri="{FF2B5EF4-FFF2-40B4-BE49-F238E27FC236}">
                  <a16:creationId xmlns:a16="http://schemas.microsoft.com/office/drawing/2014/main" id="{EF1BF42A-7613-64CF-D24A-5F85A40463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353" name="肘形连接符 352">
              <a:extLst>
                <a:ext uri="{FF2B5EF4-FFF2-40B4-BE49-F238E27FC236}">
                  <a16:creationId xmlns:a16="http://schemas.microsoft.com/office/drawing/2014/main" id="{0B59D997-D036-5C1B-686E-70B91619F389}"/>
                </a:ext>
              </a:extLst>
            </p:cNvPr>
            <p:cNvCxnSpPr>
              <a:cxnSpLocks/>
              <a:stCxn id="349" idx="3"/>
              <a:endCxn id="350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6" name="矩形 355">
              <a:extLst>
                <a:ext uri="{FF2B5EF4-FFF2-40B4-BE49-F238E27FC236}">
                  <a16:creationId xmlns:a16="http://schemas.microsoft.com/office/drawing/2014/main" id="{BAD98979-1F91-2EC1-51DB-5435FBB4083E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57" name="文本框 356">
              <a:extLst>
                <a:ext uri="{FF2B5EF4-FFF2-40B4-BE49-F238E27FC236}">
                  <a16:creationId xmlns:a16="http://schemas.microsoft.com/office/drawing/2014/main" id="{A6072F34-8FF9-F377-BB22-79A801036C72}"/>
                </a:ext>
              </a:extLst>
            </p:cNvPr>
            <p:cNvSpPr txBox="1"/>
            <p:nvPr/>
          </p:nvSpPr>
          <p:spPr>
            <a:xfrm>
              <a:off x="4144547" y="4356577"/>
              <a:ext cx="233653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59" name="组合 358">
            <a:extLst>
              <a:ext uri="{FF2B5EF4-FFF2-40B4-BE49-F238E27FC236}">
                <a16:creationId xmlns:a16="http://schemas.microsoft.com/office/drawing/2014/main" id="{B125E38D-4082-FD31-A3B7-DC69B0C03215}"/>
              </a:ext>
            </a:extLst>
          </p:cNvPr>
          <p:cNvGrpSpPr/>
          <p:nvPr/>
        </p:nvGrpSpPr>
        <p:grpSpPr>
          <a:xfrm>
            <a:off x="6243341" y="5270076"/>
            <a:ext cx="497590" cy="247989"/>
            <a:chOff x="4011398" y="4190029"/>
            <a:chExt cx="497590" cy="225444"/>
          </a:xfrm>
        </p:grpSpPr>
        <p:pic>
          <p:nvPicPr>
            <p:cNvPr id="361" name="图片 360">
              <a:extLst>
                <a:ext uri="{FF2B5EF4-FFF2-40B4-BE49-F238E27FC236}">
                  <a16:creationId xmlns:a16="http://schemas.microsoft.com/office/drawing/2014/main" id="{4222EA9A-14A4-2A20-81F3-3E5093621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365" name="图片 364">
              <a:extLst>
                <a:ext uri="{FF2B5EF4-FFF2-40B4-BE49-F238E27FC236}">
                  <a16:creationId xmlns:a16="http://schemas.microsoft.com/office/drawing/2014/main" id="{1B18D815-0258-57B6-E7B4-913704DA3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369" name="肘形连接符 368">
              <a:extLst>
                <a:ext uri="{FF2B5EF4-FFF2-40B4-BE49-F238E27FC236}">
                  <a16:creationId xmlns:a16="http://schemas.microsoft.com/office/drawing/2014/main" id="{526D9728-F63A-65B5-78CC-EF72C41F5518}"/>
                </a:ext>
              </a:extLst>
            </p:cNvPr>
            <p:cNvCxnSpPr>
              <a:cxnSpLocks/>
              <a:stCxn id="361" idx="3"/>
              <a:endCxn id="365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1" name="矩形 370">
              <a:extLst>
                <a:ext uri="{FF2B5EF4-FFF2-40B4-BE49-F238E27FC236}">
                  <a16:creationId xmlns:a16="http://schemas.microsoft.com/office/drawing/2014/main" id="{37C48D7B-8776-C6B8-9AAA-298CEB4ED7F0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74" name="文本框 373">
              <a:extLst>
                <a:ext uri="{FF2B5EF4-FFF2-40B4-BE49-F238E27FC236}">
                  <a16:creationId xmlns:a16="http://schemas.microsoft.com/office/drawing/2014/main" id="{920FA02A-D9EC-E515-C91B-0DBC22A66154}"/>
                </a:ext>
              </a:extLst>
            </p:cNvPr>
            <p:cNvSpPr txBox="1"/>
            <p:nvPr/>
          </p:nvSpPr>
          <p:spPr>
            <a:xfrm>
              <a:off x="4143279" y="4359514"/>
              <a:ext cx="234921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75" name="圆角矩形 374">
            <a:extLst>
              <a:ext uri="{FF2B5EF4-FFF2-40B4-BE49-F238E27FC236}">
                <a16:creationId xmlns:a16="http://schemas.microsoft.com/office/drawing/2014/main" id="{F737373E-5E84-5415-A45E-2FFCD62A7F7C}"/>
              </a:ext>
            </a:extLst>
          </p:cNvPr>
          <p:cNvSpPr/>
          <p:nvPr/>
        </p:nvSpPr>
        <p:spPr>
          <a:xfrm>
            <a:off x="3429199" y="5231337"/>
            <a:ext cx="448115" cy="2069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t Network)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6" name="文本框 375">
            <a:extLst>
              <a:ext uri="{FF2B5EF4-FFF2-40B4-BE49-F238E27FC236}">
                <a16:creationId xmlns:a16="http://schemas.microsoft.com/office/drawing/2014/main" id="{CDE678A3-4E04-B6D3-AAC7-F787041E28C3}"/>
              </a:ext>
            </a:extLst>
          </p:cNvPr>
          <p:cNvSpPr txBox="1"/>
          <p:nvPr/>
        </p:nvSpPr>
        <p:spPr>
          <a:xfrm>
            <a:off x="3446852" y="5463681"/>
            <a:ext cx="52763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mi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mid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7" name="文本框 376">
            <a:extLst>
              <a:ext uri="{FF2B5EF4-FFF2-40B4-BE49-F238E27FC236}">
                <a16:creationId xmlns:a16="http://schemas.microsoft.com/office/drawing/2014/main" id="{AB80D00D-781A-0DE7-217F-862454703C42}"/>
              </a:ext>
            </a:extLst>
          </p:cNvPr>
          <p:cNvSpPr txBox="1"/>
          <p:nvPr/>
        </p:nvSpPr>
        <p:spPr>
          <a:xfrm>
            <a:off x="3446853" y="5054544"/>
            <a:ext cx="3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8" name="圆角矩形 377">
            <a:extLst>
              <a:ext uri="{FF2B5EF4-FFF2-40B4-BE49-F238E27FC236}">
                <a16:creationId xmlns:a16="http://schemas.microsoft.com/office/drawing/2014/main" id="{31D7D431-514A-4431-44ED-70E2EC149F69}"/>
              </a:ext>
            </a:extLst>
          </p:cNvPr>
          <p:cNvSpPr/>
          <p:nvPr/>
        </p:nvSpPr>
        <p:spPr>
          <a:xfrm>
            <a:off x="3429199" y="4000056"/>
            <a:ext cx="3580968" cy="81326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9" name="圆角矩形 378">
            <a:extLst>
              <a:ext uri="{FF2B5EF4-FFF2-40B4-BE49-F238E27FC236}">
                <a16:creationId xmlns:a16="http://schemas.microsoft.com/office/drawing/2014/main" id="{57864262-9832-F466-E51F-DADD37E56CB5}"/>
              </a:ext>
            </a:extLst>
          </p:cNvPr>
          <p:cNvSpPr/>
          <p:nvPr/>
        </p:nvSpPr>
        <p:spPr>
          <a:xfrm>
            <a:off x="3992833" y="4034048"/>
            <a:ext cx="2865168" cy="213759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380" name="组合 379">
            <a:extLst>
              <a:ext uri="{FF2B5EF4-FFF2-40B4-BE49-F238E27FC236}">
                <a16:creationId xmlns:a16="http://schemas.microsoft.com/office/drawing/2014/main" id="{8CA8A776-AA46-3AAF-0B31-1E803F1ABD6E}"/>
              </a:ext>
            </a:extLst>
          </p:cNvPr>
          <p:cNvGrpSpPr/>
          <p:nvPr/>
        </p:nvGrpSpPr>
        <p:grpSpPr>
          <a:xfrm>
            <a:off x="4341260" y="4048343"/>
            <a:ext cx="349933" cy="187200"/>
            <a:chOff x="4160938" y="4142367"/>
            <a:chExt cx="349933" cy="187200"/>
          </a:xfrm>
        </p:grpSpPr>
        <p:pic>
          <p:nvPicPr>
            <p:cNvPr id="381" name="图片 380">
              <a:extLst>
                <a:ext uri="{FF2B5EF4-FFF2-40B4-BE49-F238E27FC236}">
                  <a16:creationId xmlns:a16="http://schemas.microsoft.com/office/drawing/2014/main" id="{F8DCA90A-D9DF-2513-9A7D-F3571143B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82" name="文本框 381">
              <a:extLst>
                <a:ext uri="{FF2B5EF4-FFF2-40B4-BE49-F238E27FC236}">
                  <a16:creationId xmlns:a16="http://schemas.microsoft.com/office/drawing/2014/main" id="{F38D4CB3-FF1A-40C3-79F8-B84ACA2EA4A4}"/>
                </a:ext>
              </a:extLst>
            </p:cNvPr>
            <p:cNvSpPr txBox="1"/>
            <p:nvPr/>
          </p:nvSpPr>
          <p:spPr>
            <a:xfrm>
              <a:off x="4303802" y="4226466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83" name="组合 382">
            <a:extLst>
              <a:ext uri="{FF2B5EF4-FFF2-40B4-BE49-F238E27FC236}">
                <a16:creationId xmlns:a16="http://schemas.microsoft.com/office/drawing/2014/main" id="{00689385-C7C5-FC81-3B5A-B832A3EEA9F7}"/>
              </a:ext>
            </a:extLst>
          </p:cNvPr>
          <p:cNvGrpSpPr/>
          <p:nvPr/>
        </p:nvGrpSpPr>
        <p:grpSpPr>
          <a:xfrm>
            <a:off x="5343975" y="4058642"/>
            <a:ext cx="342646" cy="187200"/>
            <a:chOff x="4152391" y="4142367"/>
            <a:chExt cx="342646" cy="187200"/>
          </a:xfrm>
        </p:grpSpPr>
        <p:pic>
          <p:nvPicPr>
            <p:cNvPr id="387" name="图片 386">
              <a:extLst>
                <a:ext uri="{FF2B5EF4-FFF2-40B4-BE49-F238E27FC236}">
                  <a16:creationId xmlns:a16="http://schemas.microsoft.com/office/drawing/2014/main" id="{B29249D5-2790-80D3-E4D2-500FC80BE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89" name="文本框 388">
              <a:extLst>
                <a:ext uri="{FF2B5EF4-FFF2-40B4-BE49-F238E27FC236}">
                  <a16:creationId xmlns:a16="http://schemas.microsoft.com/office/drawing/2014/main" id="{F05EBCB5-4417-D31F-D4B3-E49691E64EC0}"/>
                </a:ext>
              </a:extLst>
            </p:cNvPr>
            <p:cNvSpPr txBox="1"/>
            <p:nvPr/>
          </p:nvSpPr>
          <p:spPr>
            <a:xfrm>
              <a:off x="4287968" y="420448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90" name="组合 389">
            <a:extLst>
              <a:ext uri="{FF2B5EF4-FFF2-40B4-BE49-F238E27FC236}">
                <a16:creationId xmlns:a16="http://schemas.microsoft.com/office/drawing/2014/main" id="{C093128D-4105-FB9C-B3A1-939F688A0E9A}"/>
              </a:ext>
            </a:extLst>
          </p:cNvPr>
          <p:cNvGrpSpPr/>
          <p:nvPr/>
        </p:nvGrpSpPr>
        <p:grpSpPr>
          <a:xfrm>
            <a:off x="6389864" y="4052316"/>
            <a:ext cx="356519" cy="187200"/>
            <a:chOff x="4157921" y="4132866"/>
            <a:chExt cx="356519" cy="187200"/>
          </a:xfrm>
        </p:grpSpPr>
        <p:pic>
          <p:nvPicPr>
            <p:cNvPr id="391" name="图片 390">
              <a:extLst>
                <a:ext uri="{FF2B5EF4-FFF2-40B4-BE49-F238E27FC236}">
                  <a16:creationId xmlns:a16="http://schemas.microsoft.com/office/drawing/2014/main" id="{F2AFDCD5-25DC-FA7B-2A2F-5D7B00778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92" name="文本框 391">
              <a:extLst>
                <a:ext uri="{FF2B5EF4-FFF2-40B4-BE49-F238E27FC236}">
                  <a16:creationId xmlns:a16="http://schemas.microsoft.com/office/drawing/2014/main" id="{01E0084A-C1F1-D713-5FEB-C4E5501C9387}"/>
                </a:ext>
              </a:extLst>
            </p:cNvPr>
            <p:cNvSpPr txBox="1"/>
            <p:nvPr/>
          </p:nvSpPr>
          <p:spPr>
            <a:xfrm>
              <a:off x="4307371" y="418990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93" name="圆角矩形 392">
            <a:extLst>
              <a:ext uri="{FF2B5EF4-FFF2-40B4-BE49-F238E27FC236}">
                <a16:creationId xmlns:a16="http://schemas.microsoft.com/office/drawing/2014/main" id="{EF051BCD-2BA2-2DAE-BF06-139561E1C8F0}"/>
              </a:ext>
            </a:extLst>
          </p:cNvPr>
          <p:cNvSpPr/>
          <p:nvPr/>
        </p:nvSpPr>
        <p:spPr>
          <a:xfrm>
            <a:off x="3992833" y="4309908"/>
            <a:ext cx="2865168" cy="204308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96" name="文本框 395">
            <a:extLst>
              <a:ext uri="{FF2B5EF4-FFF2-40B4-BE49-F238E27FC236}">
                <a16:creationId xmlns:a16="http://schemas.microsoft.com/office/drawing/2014/main" id="{7544B7CE-4239-430A-A059-1E031D1CE118}"/>
              </a:ext>
            </a:extLst>
          </p:cNvPr>
          <p:cNvSpPr txBox="1"/>
          <p:nvPr/>
        </p:nvSpPr>
        <p:spPr>
          <a:xfrm>
            <a:off x="4037742" y="4045835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1552EA7E-A208-2E5A-6ABD-F47D9C34B517}"/>
              </a:ext>
            </a:extLst>
          </p:cNvPr>
          <p:cNvSpPr txBox="1"/>
          <p:nvPr/>
        </p:nvSpPr>
        <p:spPr>
          <a:xfrm>
            <a:off x="4037742" y="4330843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D0D8EFBE-88D3-FF5D-7E5B-8747F9E325BF}"/>
              </a:ext>
            </a:extLst>
          </p:cNvPr>
          <p:cNvGrpSpPr/>
          <p:nvPr/>
        </p:nvGrpSpPr>
        <p:grpSpPr>
          <a:xfrm>
            <a:off x="4345949" y="4309908"/>
            <a:ext cx="359307" cy="187200"/>
            <a:chOff x="4160938" y="4142367"/>
            <a:chExt cx="359307" cy="187200"/>
          </a:xfrm>
        </p:grpSpPr>
        <p:pic>
          <p:nvPicPr>
            <p:cNvPr id="399" name="图片 398">
              <a:extLst>
                <a:ext uri="{FF2B5EF4-FFF2-40B4-BE49-F238E27FC236}">
                  <a16:creationId xmlns:a16="http://schemas.microsoft.com/office/drawing/2014/main" id="{EEEBB01E-6668-A5D9-D108-BE045DE7B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400" name="文本框 399">
              <a:extLst>
                <a:ext uri="{FF2B5EF4-FFF2-40B4-BE49-F238E27FC236}">
                  <a16:creationId xmlns:a16="http://schemas.microsoft.com/office/drawing/2014/main" id="{55E7CCC7-13F3-0AF8-01CF-76747AF65C84}"/>
                </a:ext>
              </a:extLst>
            </p:cNvPr>
            <p:cNvSpPr txBox="1"/>
            <p:nvPr/>
          </p:nvSpPr>
          <p:spPr>
            <a:xfrm>
              <a:off x="4313176" y="423177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04" name="组合 403">
            <a:extLst>
              <a:ext uri="{FF2B5EF4-FFF2-40B4-BE49-F238E27FC236}">
                <a16:creationId xmlns:a16="http://schemas.microsoft.com/office/drawing/2014/main" id="{FBFC78CB-3E25-2C0D-42FB-31556201F580}"/>
              </a:ext>
            </a:extLst>
          </p:cNvPr>
          <p:cNvGrpSpPr/>
          <p:nvPr/>
        </p:nvGrpSpPr>
        <p:grpSpPr>
          <a:xfrm>
            <a:off x="5348664" y="4320207"/>
            <a:ext cx="362896" cy="187200"/>
            <a:chOff x="4152391" y="4142367"/>
            <a:chExt cx="362896" cy="187200"/>
          </a:xfrm>
        </p:grpSpPr>
        <p:pic>
          <p:nvPicPr>
            <p:cNvPr id="416" name="图片 415">
              <a:extLst>
                <a:ext uri="{FF2B5EF4-FFF2-40B4-BE49-F238E27FC236}">
                  <a16:creationId xmlns:a16="http://schemas.microsoft.com/office/drawing/2014/main" id="{3EA85E57-8267-15BE-2268-CAC233D0D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422" name="文本框 421">
              <a:extLst>
                <a:ext uri="{FF2B5EF4-FFF2-40B4-BE49-F238E27FC236}">
                  <a16:creationId xmlns:a16="http://schemas.microsoft.com/office/drawing/2014/main" id="{41D743E2-C2FC-F6E6-C2D4-9E57AE7CDBC0}"/>
                </a:ext>
              </a:extLst>
            </p:cNvPr>
            <p:cNvSpPr txBox="1"/>
            <p:nvPr/>
          </p:nvSpPr>
          <p:spPr>
            <a:xfrm>
              <a:off x="4308218" y="420959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23" name="组合 422">
            <a:extLst>
              <a:ext uri="{FF2B5EF4-FFF2-40B4-BE49-F238E27FC236}">
                <a16:creationId xmlns:a16="http://schemas.microsoft.com/office/drawing/2014/main" id="{748F9B30-8E8F-5B3D-7B55-0F275AAC24CF}"/>
              </a:ext>
            </a:extLst>
          </p:cNvPr>
          <p:cNvGrpSpPr/>
          <p:nvPr/>
        </p:nvGrpSpPr>
        <p:grpSpPr>
          <a:xfrm>
            <a:off x="6394553" y="4313881"/>
            <a:ext cx="351830" cy="187200"/>
            <a:chOff x="4157921" y="4132866"/>
            <a:chExt cx="351830" cy="187200"/>
          </a:xfrm>
        </p:grpSpPr>
        <p:pic>
          <p:nvPicPr>
            <p:cNvPr id="426" name="图片 425">
              <a:extLst>
                <a:ext uri="{FF2B5EF4-FFF2-40B4-BE49-F238E27FC236}">
                  <a16:creationId xmlns:a16="http://schemas.microsoft.com/office/drawing/2014/main" id="{5E7A5719-A51F-3651-E2CF-1D4592AE2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427" name="文本框 426">
              <a:extLst>
                <a:ext uri="{FF2B5EF4-FFF2-40B4-BE49-F238E27FC236}">
                  <a16:creationId xmlns:a16="http://schemas.microsoft.com/office/drawing/2014/main" id="{08A3941B-167C-8769-CA0D-BB4B64959021}"/>
                </a:ext>
              </a:extLst>
            </p:cNvPr>
            <p:cNvSpPr txBox="1"/>
            <p:nvPr/>
          </p:nvSpPr>
          <p:spPr>
            <a:xfrm>
              <a:off x="4302682" y="4218305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28" name="圆角矩形 427">
            <a:extLst>
              <a:ext uri="{FF2B5EF4-FFF2-40B4-BE49-F238E27FC236}">
                <a16:creationId xmlns:a16="http://schemas.microsoft.com/office/drawing/2014/main" id="{329DF390-3449-1534-91FF-4C99D4BC2EC5}"/>
              </a:ext>
            </a:extLst>
          </p:cNvPr>
          <p:cNvSpPr/>
          <p:nvPr/>
        </p:nvSpPr>
        <p:spPr>
          <a:xfrm>
            <a:off x="3992832" y="4561803"/>
            <a:ext cx="2865168" cy="210392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429" name="组合 428">
            <a:extLst>
              <a:ext uri="{FF2B5EF4-FFF2-40B4-BE49-F238E27FC236}">
                <a16:creationId xmlns:a16="http://schemas.microsoft.com/office/drawing/2014/main" id="{0D12C7AE-1053-E066-007D-25B001E54445}"/>
              </a:ext>
            </a:extLst>
          </p:cNvPr>
          <p:cNvGrpSpPr/>
          <p:nvPr/>
        </p:nvGrpSpPr>
        <p:grpSpPr>
          <a:xfrm>
            <a:off x="5343975" y="4580104"/>
            <a:ext cx="355483" cy="187200"/>
            <a:chOff x="5188496" y="4120154"/>
            <a:chExt cx="355483" cy="187200"/>
          </a:xfrm>
        </p:grpSpPr>
        <p:pic>
          <p:nvPicPr>
            <p:cNvPr id="431" name="图片 430">
              <a:extLst>
                <a:ext uri="{FF2B5EF4-FFF2-40B4-BE49-F238E27FC236}">
                  <a16:creationId xmlns:a16="http://schemas.microsoft.com/office/drawing/2014/main" id="{BE191478-B990-6017-E53C-04A7912C8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188496" y="4120154"/>
              <a:ext cx="193240" cy="187200"/>
            </a:xfrm>
            <a:prstGeom prst="rect">
              <a:avLst/>
            </a:prstGeom>
          </p:spPr>
        </p:pic>
        <p:sp>
          <p:nvSpPr>
            <p:cNvPr id="432" name="文本框 431">
              <a:extLst>
                <a:ext uri="{FF2B5EF4-FFF2-40B4-BE49-F238E27FC236}">
                  <a16:creationId xmlns:a16="http://schemas.microsoft.com/office/drawing/2014/main" id="{77E64932-41B0-68E6-36B9-A2E108BBA180}"/>
                </a:ext>
              </a:extLst>
            </p:cNvPr>
            <p:cNvSpPr txBox="1"/>
            <p:nvPr/>
          </p:nvSpPr>
          <p:spPr>
            <a:xfrm>
              <a:off x="5336910" y="4204047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cxnSp>
        <p:nvCxnSpPr>
          <p:cNvPr id="1441" name="直线连接符 1440">
            <a:extLst>
              <a:ext uri="{FF2B5EF4-FFF2-40B4-BE49-F238E27FC236}">
                <a16:creationId xmlns:a16="http://schemas.microsoft.com/office/drawing/2014/main" id="{2360D1DB-B6FA-A16D-11D8-40C86C19101C}"/>
              </a:ext>
            </a:extLst>
          </p:cNvPr>
          <p:cNvCxnSpPr>
            <a:cxnSpLocks/>
          </p:cNvCxnSpPr>
          <p:nvPr/>
        </p:nvCxnSpPr>
        <p:spPr>
          <a:xfrm>
            <a:off x="4855330" y="3805336"/>
            <a:ext cx="0" cy="2682550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7" name="直线连接符 1436">
            <a:extLst>
              <a:ext uri="{FF2B5EF4-FFF2-40B4-BE49-F238E27FC236}">
                <a16:creationId xmlns:a16="http://schemas.microsoft.com/office/drawing/2014/main" id="{D11FB2EB-DACE-866D-9407-8DF3D8AC7E50}"/>
              </a:ext>
            </a:extLst>
          </p:cNvPr>
          <p:cNvCxnSpPr>
            <a:cxnSpLocks/>
          </p:cNvCxnSpPr>
          <p:nvPr/>
        </p:nvCxnSpPr>
        <p:spPr>
          <a:xfrm>
            <a:off x="6043336" y="3805336"/>
            <a:ext cx="0" cy="268452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9" name="直线连接符 1438">
            <a:extLst>
              <a:ext uri="{FF2B5EF4-FFF2-40B4-BE49-F238E27FC236}">
                <a16:creationId xmlns:a16="http://schemas.microsoft.com/office/drawing/2014/main" id="{17D10BC8-9050-379A-9851-1E6263F26295}"/>
              </a:ext>
            </a:extLst>
          </p:cNvPr>
          <p:cNvCxnSpPr>
            <a:cxnSpLocks/>
          </p:cNvCxnSpPr>
          <p:nvPr/>
        </p:nvCxnSpPr>
        <p:spPr>
          <a:xfrm>
            <a:off x="5964661" y="3850364"/>
            <a:ext cx="0" cy="260514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0" name="直线连接符 1439">
            <a:extLst>
              <a:ext uri="{FF2B5EF4-FFF2-40B4-BE49-F238E27FC236}">
                <a16:creationId xmlns:a16="http://schemas.microsoft.com/office/drawing/2014/main" id="{CFD4CCAF-4AB1-BCC7-AC6B-7F45C7D41633}"/>
              </a:ext>
            </a:extLst>
          </p:cNvPr>
          <p:cNvCxnSpPr>
            <a:cxnSpLocks/>
          </p:cNvCxnSpPr>
          <p:nvPr/>
        </p:nvCxnSpPr>
        <p:spPr>
          <a:xfrm>
            <a:off x="4946652" y="3805336"/>
            <a:ext cx="0" cy="2674633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4" name="肘形连接符 1103">
            <a:extLst>
              <a:ext uri="{FF2B5EF4-FFF2-40B4-BE49-F238E27FC236}">
                <a16:creationId xmlns:a16="http://schemas.microsoft.com/office/drawing/2014/main" id="{A182C3DD-3AB6-B898-76A8-4641C571722E}"/>
              </a:ext>
            </a:extLst>
          </p:cNvPr>
          <p:cNvCxnSpPr>
            <a:cxnSpLocks/>
            <a:stCxn id="438" idx="3"/>
          </p:cNvCxnSpPr>
          <p:nvPr/>
        </p:nvCxnSpPr>
        <p:spPr>
          <a:xfrm>
            <a:off x="3033039" y="3682278"/>
            <a:ext cx="959794" cy="44701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7" name="肘形连接符 366">
            <a:extLst>
              <a:ext uri="{FF2B5EF4-FFF2-40B4-BE49-F238E27FC236}">
                <a16:creationId xmlns:a16="http://schemas.microsoft.com/office/drawing/2014/main" id="{4231F8A2-CB7B-71E3-4754-6F6105EAABCC}"/>
              </a:ext>
            </a:extLst>
          </p:cNvPr>
          <p:cNvCxnSpPr>
            <a:cxnSpLocks/>
            <a:stCxn id="439" idx="3"/>
          </p:cNvCxnSpPr>
          <p:nvPr/>
        </p:nvCxnSpPr>
        <p:spPr>
          <a:xfrm>
            <a:off x="2699070" y="4276969"/>
            <a:ext cx="1293763" cy="163566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38" name="图片 437">
            <a:extLst>
              <a:ext uri="{FF2B5EF4-FFF2-40B4-BE49-F238E27FC236}">
                <a16:creationId xmlns:a16="http://schemas.microsoft.com/office/drawing/2014/main" id="{EFE7E9B4-99C2-71DD-F6D6-41541128969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422" y="3569119"/>
            <a:ext cx="233617" cy="226317"/>
          </a:xfrm>
          <a:prstGeom prst="rect">
            <a:avLst/>
          </a:prstGeom>
        </p:spPr>
      </p:pic>
      <p:pic>
        <p:nvPicPr>
          <p:cNvPr id="439" name="图片 438">
            <a:extLst>
              <a:ext uri="{FF2B5EF4-FFF2-40B4-BE49-F238E27FC236}">
                <a16:creationId xmlns:a16="http://schemas.microsoft.com/office/drawing/2014/main" id="{2455D339-B7FF-29B2-2B30-813EC798C8A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5453" y="4163810"/>
            <a:ext cx="233617" cy="226317"/>
          </a:xfrm>
          <a:prstGeom prst="rect">
            <a:avLst/>
          </a:prstGeom>
        </p:spPr>
      </p:pic>
      <p:pic>
        <p:nvPicPr>
          <p:cNvPr id="440" name="图片 439">
            <a:extLst>
              <a:ext uri="{FF2B5EF4-FFF2-40B4-BE49-F238E27FC236}">
                <a16:creationId xmlns:a16="http://schemas.microsoft.com/office/drawing/2014/main" id="{F570177F-1485-BDF7-16E0-E277A17DA1C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4939" y="4549780"/>
            <a:ext cx="233617" cy="226317"/>
          </a:xfrm>
          <a:prstGeom prst="rect">
            <a:avLst/>
          </a:prstGeom>
        </p:spPr>
      </p:pic>
      <p:cxnSp>
        <p:nvCxnSpPr>
          <p:cNvPr id="457" name="肘形连接符 456">
            <a:extLst>
              <a:ext uri="{FF2B5EF4-FFF2-40B4-BE49-F238E27FC236}">
                <a16:creationId xmlns:a16="http://schemas.microsoft.com/office/drawing/2014/main" id="{012C9C34-0B25-0C5E-EB8E-6535582222AC}"/>
              </a:ext>
            </a:extLst>
          </p:cNvPr>
          <p:cNvCxnSpPr>
            <a:cxnSpLocks/>
            <a:stCxn id="7" idx="2"/>
            <a:endCxn id="440" idx="1"/>
          </p:cNvCxnSpPr>
          <p:nvPr/>
        </p:nvCxnSpPr>
        <p:spPr>
          <a:xfrm flipV="1">
            <a:off x="1996510" y="4662939"/>
            <a:ext cx="468429" cy="66035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66" name="文本框 465">
            <a:extLst>
              <a:ext uri="{FF2B5EF4-FFF2-40B4-BE49-F238E27FC236}">
                <a16:creationId xmlns:a16="http://schemas.microsoft.com/office/drawing/2014/main" id="{F36C1975-3955-86DF-BECE-DFB75C8B200C}"/>
              </a:ext>
            </a:extLst>
          </p:cNvPr>
          <p:cNvSpPr txBox="1"/>
          <p:nvPr/>
        </p:nvSpPr>
        <p:spPr>
          <a:xfrm>
            <a:off x="2238659" y="4315236"/>
            <a:ext cx="10678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1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aks-api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7" name="文本框 466">
            <a:extLst>
              <a:ext uri="{FF2B5EF4-FFF2-40B4-BE49-F238E27FC236}">
                <a16:creationId xmlns:a16="http://schemas.microsoft.com/office/drawing/2014/main" id="{A464CB6E-19F9-6CE4-C49B-3027EBDE3E11}"/>
              </a:ext>
            </a:extLst>
          </p:cNvPr>
          <p:cNvSpPr txBox="1"/>
          <p:nvPr/>
        </p:nvSpPr>
        <p:spPr>
          <a:xfrm>
            <a:off x="2238145" y="4729781"/>
            <a:ext cx="1067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3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IDMS )</a:t>
            </a:r>
          </a:p>
          <a:p>
            <a:pPr algn="ctr">
              <a:defRPr/>
            </a:pPr>
            <a:r>
              <a:rPr kumimoji="1" lang="en-US" altLang="zh-SG" sz="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-ak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70" name="肘形连接符 469">
            <a:extLst>
              <a:ext uri="{FF2B5EF4-FFF2-40B4-BE49-F238E27FC236}">
                <a16:creationId xmlns:a16="http://schemas.microsoft.com/office/drawing/2014/main" id="{6827C6A6-61A2-CC6B-DCC2-BBDED3FD4ED7}"/>
              </a:ext>
            </a:extLst>
          </p:cNvPr>
          <p:cNvCxnSpPr>
            <a:cxnSpLocks/>
            <a:stCxn id="440" idx="3"/>
            <a:endCxn id="428" idx="1"/>
          </p:cNvCxnSpPr>
          <p:nvPr/>
        </p:nvCxnSpPr>
        <p:spPr>
          <a:xfrm>
            <a:off x="2698556" y="4662939"/>
            <a:ext cx="1294276" cy="406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9" name="圆角矩形 478">
            <a:extLst>
              <a:ext uri="{FF2B5EF4-FFF2-40B4-BE49-F238E27FC236}">
                <a16:creationId xmlns:a16="http://schemas.microsoft.com/office/drawing/2014/main" id="{A3CDFE27-F5C0-29FB-6ED2-E5D96C001BA5}"/>
              </a:ext>
            </a:extLst>
          </p:cNvPr>
          <p:cNvSpPr/>
          <p:nvPr/>
        </p:nvSpPr>
        <p:spPr>
          <a:xfrm>
            <a:off x="3429199" y="4004336"/>
            <a:ext cx="425251" cy="9411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 Gateway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0" name="文本框 479">
            <a:extLst>
              <a:ext uri="{FF2B5EF4-FFF2-40B4-BE49-F238E27FC236}">
                <a16:creationId xmlns:a16="http://schemas.microsoft.com/office/drawing/2014/main" id="{BBACC3FF-7849-B46F-F710-BFDE8BD4A1DC}"/>
              </a:ext>
            </a:extLst>
          </p:cNvPr>
          <p:cNvSpPr txBox="1"/>
          <p:nvPr/>
        </p:nvSpPr>
        <p:spPr>
          <a:xfrm>
            <a:off x="3446853" y="4183628"/>
            <a:ext cx="3271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565C70AF-921B-FC1B-5903-97C6F673225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40894" y="5615296"/>
            <a:ext cx="165805" cy="160624"/>
          </a:xfrm>
          <a:prstGeom prst="rect">
            <a:avLst/>
          </a:prstGeom>
        </p:spPr>
      </p:pic>
      <p:cxnSp>
        <p:nvCxnSpPr>
          <p:cNvPr id="202" name="肘形连接符 201">
            <a:extLst>
              <a:ext uri="{FF2B5EF4-FFF2-40B4-BE49-F238E27FC236}">
                <a16:creationId xmlns:a16="http://schemas.microsoft.com/office/drawing/2014/main" id="{0AFD1C03-78DC-A2B7-6EDE-8D7D25F6773E}"/>
              </a:ext>
            </a:extLst>
          </p:cNvPr>
          <p:cNvCxnSpPr>
            <a:cxnSpLocks/>
            <a:stCxn id="23" idx="1"/>
          </p:cNvCxnSpPr>
          <p:nvPr/>
        </p:nvCxnSpPr>
        <p:spPr>
          <a:xfrm rot="10800000" flipV="1">
            <a:off x="6723342" y="5695607"/>
            <a:ext cx="217553" cy="701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肘形连接符 204">
            <a:extLst>
              <a:ext uri="{FF2B5EF4-FFF2-40B4-BE49-F238E27FC236}">
                <a16:creationId xmlns:a16="http://schemas.microsoft.com/office/drawing/2014/main" id="{F235812A-AD7B-2F2B-CD1E-E9E4751D54F6}"/>
              </a:ext>
            </a:extLst>
          </p:cNvPr>
          <p:cNvCxnSpPr>
            <a:cxnSpLocks/>
            <a:endCxn id="23" idx="3"/>
          </p:cNvCxnSpPr>
          <p:nvPr/>
        </p:nvCxnSpPr>
        <p:spPr>
          <a:xfrm rot="5400000" flipH="1" flipV="1">
            <a:off x="6165707" y="5688758"/>
            <a:ext cx="934141" cy="947843"/>
          </a:xfrm>
          <a:prstGeom prst="bentConnector4">
            <a:avLst>
              <a:gd name="adj1" fmla="val 6954"/>
              <a:gd name="adj2" fmla="val 124118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文本框 205">
            <a:extLst>
              <a:ext uri="{FF2B5EF4-FFF2-40B4-BE49-F238E27FC236}">
                <a16:creationId xmlns:a16="http://schemas.microsoft.com/office/drawing/2014/main" id="{B7650894-F39D-A73C-3DE4-23B24AC79491}"/>
              </a:ext>
            </a:extLst>
          </p:cNvPr>
          <p:cNvSpPr txBox="1"/>
          <p:nvPr/>
        </p:nvSpPr>
        <p:spPr>
          <a:xfrm>
            <a:off x="7314951" y="5702151"/>
            <a:ext cx="5463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8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fka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kafka-aks-api-prod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29" name="图片 328">
            <a:extLst>
              <a:ext uri="{FF2B5EF4-FFF2-40B4-BE49-F238E27FC236}">
                <a16:creationId xmlns:a16="http://schemas.microsoft.com/office/drawing/2014/main" id="{17840EE5-BB48-4668-9249-EC854AA4DE2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000047"/>
            <a:ext cx="180042" cy="174416"/>
          </a:xfrm>
          <a:prstGeom prst="rect">
            <a:avLst/>
          </a:prstGeom>
        </p:spPr>
      </p:pic>
      <p:pic>
        <p:nvPicPr>
          <p:cNvPr id="331" name="图片 330">
            <a:extLst>
              <a:ext uri="{FF2B5EF4-FFF2-40B4-BE49-F238E27FC236}">
                <a16:creationId xmlns:a16="http://schemas.microsoft.com/office/drawing/2014/main" id="{E0E60D1C-314E-C0BC-D970-BE732AC2728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199391"/>
            <a:ext cx="180042" cy="174416"/>
          </a:xfrm>
          <a:prstGeom prst="rect">
            <a:avLst/>
          </a:prstGeom>
        </p:spPr>
      </p:pic>
      <p:pic>
        <p:nvPicPr>
          <p:cNvPr id="334" name="图片 333">
            <a:extLst>
              <a:ext uri="{FF2B5EF4-FFF2-40B4-BE49-F238E27FC236}">
                <a16:creationId xmlns:a16="http://schemas.microsoft.com/office/drawing/2014/main" id="{0AC674EC-931B-7A19-C482-78DEBCDD268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616052" y="5390952"/>
            <a:ext cx="180042" cy="174416"/>
          </a:xfrm>
          <a:prstGeom prst="rect">
            <a:avLst/>
          </a:prstGeom>
        </p:spPr>
      </p:pic>
      <p:sp>
        <p:nvSpPr>
          <p:cNvPr id="335" name="文本框 334">
            <a:extLst>
              <a:ext uri="{FF2B5EF4-FFF2-40B4-BE49-F238E27FC236}">
                <a16:creationId xmlns:a16="http://schemas.microsoft.com/office/drawing/2014/main" id="{FF349363-7B7D-6C2C-C534-7C78E5D81747}"/>
              </a:ext>
            </a:extLst>
          </p:cNvPr>
          <p:cNvSpPr txBox="1"/>
          <p:nvPr/>
        </p:nvSpPr>
        <p:spPr>
          <a:xfrm>
            <a:off x="2738235" y="5091468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S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7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6" name="文本框 335">
            <a:extLst>
              <a:ext uri="{FF2B5EF4-FFF2-40B4-BE49-F238E27FC236}">
                <a16:creationId xmlns:a16="http://schemas.microsoft.com/office/drawing/2014/main" id="{67337DA8-4C54-FE74-37AF-082BE0B5B585}"/>
              </a:ext>
            </a:extLst>
          </p:cNvPr>
          <p:cNvSpPr txBox="1"/>
          <p:nvPr/>
        </p:nvSpPr>
        <p:spPr>
          <a:xfrm>
            <a:off x="2746232" y="5292224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K1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7" name="文本框 336">
            <a:extLst>
              <a:ext uri="{FF2B5EF4-FFF2-40B4-BE49-F238E27FC236}">
                <a16:creationId xmlns:a16="http://schemas.microsoft.com/office/drawing/2014/main" id="{F6F070F7-FF6E-8913-865F-EE94C5D70E21}"/>
              </a:ext>
            </a:extLst>
          </p:cNvPr>
          <p:cNvSpPr txBox="1"/>
          <p:nvPr/>
        </p:nvSpPr>
        <p:spPr>
          <a:xfrm>
            <a:off x="2738235" y="5483532"/>
            <a:ext cx="3297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r>
              <a:rPr kumimoji="1" lang="zh-CN" altLang="en-US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K2)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5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9" name="肘形连接符 338">
            <a:extLst>
              <a:ext uri="{FF2B5EF4-FFF2-40B4-BE49-F238E27FC236}">
                <a16:creationId xmlns:a16="http://schemas.microsoft.com/office/drawing/2014/main" id="{1183A931-A203-A5AA-C24A-C0BBBD70EB3D}"/>
              </a:ext>
            </a:extLst>
          </p:cNvPr>
          <p:cNvCxnSpPr>
            <a:cxnSpLocks/>
            <a:stCxn id="329" idx="3"/>
            <a:endCxn id="233" idx="1"/>
          </p:cNvCxnSpPr>
          <p:nvPr/>
        </p:nvCxnSpPr>
        <p:spPr>
          <a:xfrm>
            <a:off x="2796094" y="5087255"/>
            <a:ext cx="633105" cy="3007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  <p:cxnSp>
        <p:nvCxnSpPr>
          <p:cNvPr id="343" name="肘形连接符 342">
            <a:extLst>
              <a:ext uri="{FF2B5EF4-FFF2-40B4-BE49-F238E27FC236}">
                <a16:creationId xmlns:a16="http://schemas.microsoft.com/office/drawing/2014/main" id="{5E62FBB5-910D-A411-AAD4-8F92129CF2F0}"/>
              </a:ext>
            </a:extLst>
          </p:cNvPr>
          <p:cNvCxnSpPr>
            <a:cxnSpLocks/>
            <a:stCxn id="331" idx="3"/>
            <a:endCxn id="233" idx="1"/>
          </p:cNvCxnSpPr>
          <p:nvPr/>
        </p:nvCxnSpPr>
        <p:spPr>
          <a:xfrm>
            <a:off x="2796094" y="5286599"/>
            <a:ext cx="633105" cy="10138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  <p:cxnSp>
        <p:nvCxnSpPr>
          <p:cNvPr id="347" name="肘形连接符 346">
            <a:extLst>
              <a:ext uri="{FF2B5EF4-FFF2-40B4-BE49-F238E27FC236}">
                <a16:creationId xmlns:a16="http://schemas.microsoft.com/office/drawing/2014/main" id="{9A909FDF-005B-2179-5E36-07638415C85B}"/>
              </a:ext>
            </a:extLst>
          </p:cNvPr>
          <p:cNvCxnSpPr>
            <a:cxnSpLocks/>
            <a:stCxn id="334" idx="3"/>
            <a:endCxn id="233" idx="1"/>
          </p:cNvCxnSpPr>
          <p:nvPr/>
        </p:nvCxnSpPr>
        <p:spPr>
          <a:xfrm flipV="1">
            <a:off x="2796094" y="5387988"/>
            <a:ext cx="633105" cy="9017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833B"/>
            </a:solidFill>
            <a:prstDash val="sysDot"/>
            <a:miter lim="800000"/>
            <a:tailEnd type="triangl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5683194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80D4745-9997-02D3-950B-A08F72E1B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8F475C38-A73C-CF76-4ED6-4B18977E126E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487518B0-A418-F562-8284-5E249EA82075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699F0E28-01F3-ACA5-8E49-F0B7364A92ED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8B61155-72B4-95F4-56B2-369611E5ECCD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D21388A5-93FA-6227-F5C1-A9992AD075B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9C54AEC5-C904-EA76-C369-AC6E6E93D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3277D1A5-4515-148C-1716-A5A139254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C96AC2EB-659C-1A4D-BF09-BB89E5A53085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7D0C139-212A-CC31-2C91-EC787FB2C334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A3CDA301-BBAD-0FDA-AA42-81DA4A2F1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6BC0AC4B-37F8-AD6C-1D8C-F17A40111C18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2C35A71-8074-DBE5-93F5-705D1F9B7429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6CBEAA47-183A-6BBB-5F24-EFA837DC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87BCC2DF-4BE4-F346-0611-861E64B8ECFA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B181F77B-9BE2-0C2C-701B-09EB571D1965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7FE76E8F-CA72-15AB-7DFD-67644E121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8FC14AC-93CD-6509-4EAF-44D116F00C53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6A438F7-FE44-1B68-93D9-32E1D8C39A1B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86C6503-5B18-1B77-20D2-CAC8943C9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67BD0A72-CFDE-A658-AAD9-C6E23FEE4C54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4B84C597-5193-46B9-3DC6-86AB8C925FC0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D46FE9C8-0343-875E-7E71-CA40BDB3BAA6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4F8B74D5-85A9-971B-40D7-BEC07BD1B2FA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DD734B0F-5F77-455E-D078-F2996570B98C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A3055E94-C1E8-CC16-8CB7-3072B7E7E220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9CB792A-5103-8F5A-A37D-9D6CA99EE4F9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D6BF3ACB-845A-095B-B942-BC4ED10D1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7CFB6A8-1E57-DD3D-C600-F94408D17BED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DE73974D-65B2-711B-15D9-8C11FC4028D0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309425E-36AB-0430-8CBF-A200C45CB2E6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7436B817-B5FA-51BA-6DCB-C599059F8492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BC7995B2-6B0F-5643-90F0-A6633B3A59E5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5423D43D-B57C-50F0-614B-CC36EDBE5820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89332FEF-607C-90E3-41CA-15D8AD89B0CC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圆角矩形 45">
            <a:extLst>
              <a:ext uri="{FF2B5EF4-FFF2-40B4-BE49-F238E27FC236}">
                <a16:creationId xmlns:a16="http://schemas.microsoft.com/office/drawing/2014/main" id="{B1E6D2B2-131E-A999-3166-B315DFEB57FC}"/>
              </a:ext>
            </a:extLst>
          </p:cNvPr>
          <p:cNvSpPr/>
          <p:nvPr/>
        </p:nvSpPr>
        <p:spPr>
          <a:xfrm>
            <a:off x="2756682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8C6C6D14-B6B7-32AB-A460-C0BB04A78B78}"/>
              </a:ext>
            </a:extLst>
          </p:cNvPr>
          <p:cNvSpPr/>
          <p:nvPr/>
        </p:nvSpPr>
        <p:spPr>
          <a:xfrm rot="16200000">
            <a:off x="-289025" y="455762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F2C2356F-6983-BB4A-6DE1-5AF7662CF8ED}"/>
              </a:ext>
            </a:extLst>
          </p:cNvPr>
          <p:cNvGrpSpPr/>
          <p:nvPr/>
        </p:nvGrpSpPr>
        <p:grpSpPr>
          <a:xfrm>
            <a:off x="263939" y="4926880"/>
            <a:ext cx="334889" cy="261611"/>
            <a:chOff x="433187" y="1198966"/>
            <a:chExt cx="517377" cy="401131"/>
          </a:xfrm>
        </p:grpSpPr>
        <p:pic>
          <p:nvPicPr>
            <p:cNvPr id="49" name="图形 48" descr="女性形象 纯色填充">
              <a:extLst>
                <a:ext uri="{FF2B5EF4-FFF2-40B4-BE49-F238E27FC236}">
                  <a16:creationId xmlns:a16="http://schemas.microsoft.com/office/drawing/2014/main" id="{6697EB61-5732-03C9-B40A-D6B470A5D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50" name="图形 49" descr="男性形象 纯色填充">
              <a:extLst>
                <a:ext uri="{FF2B5EF4-FFF2-40B4-BE49-F238E27FC236}">
                  <a16:creationId xmlns:a16="http://schemas.microsoft.com/office/drawing/2014/main" id="{0284A62B-7164-0B70-D869-3332254E7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F9FC2A38-18EC-1844-F61E-6C0707B12B7C}"/>
              </a:ext>
            </a:extLst>
          </p:cNvPr>
          <p:cNvSpPr txBox="1"/>
          <p:nvPr/>
        </p:nvSpPr>
        <p:spPr>
          <a:xfrm>
            <a:off x="130891" y="5145867"/>
            <a:ext cx="573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Internal</a:t>
            </a:r>
            <a:b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</a:b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User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AD4D4CB7-B2D7-43B4-B598-BFF1B961DD64}"/>
              </a:ext>
            </a:extLst>
          </p:cNvPr>
          <p:cNvGrpSpPr/>
          <p:nvPr/>
        </p:nvGrpSpPr>
        <p:grpSpPr>
          <a:xfrm>
            <a:off x="1014809" y="4201607"/>
            <a:ext cx="338677" cy="330488"/>
            <a:chOff x="847615" y="1093987"/>
            <a:chExt cx="338677" cy="330488"/>
          </a:xfrm>
        </p:grpSpPr>
        <p:pic>
          <p:nvPicPr>
            <p:cNvPr id="53" name="图形 52">
              <a:extLst>
                <a:ext uri="{FF2B5EF4-FFF2-40B4-BE49-F238E27FC236}">
                  <a16:creationId xmlns:a16="http://schemas.microsoft.com/office/drawing/2014/main" id="{544FFF00-A047-9080-09AB-C12EDB79C98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215B3F94-3E94-0D8B-4974-F5EBECB63889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C53C64A4-D7D8-95D2-4A36-8AB087647F35}"/>
              </a:ext>
            </a:extLst>
          </p:cNvPr>
          <p:cNvGrpSpPr/>
          <p:nvPr/>
        </p:nvGrpSpPr>
        <p:grpSpPr>
          <a:xfrm>
            <a:off x="1017984" y="4686687"/>
            <a:ext cx="338677" cy="325598"/>
            <a:chOff x="849277" y="1503764"/>
            <a:chExt cx="338677" cy="325598"/>
          </a:xfrm>
        </p:grpSpPr>
        <p:pic>
          <p:nvPicPr>
            <p:cNvPr id="56" name="图形 55">
              <a:extLst>
                <a:ext uri="{FF2B5EF4-FFF2-40B4-BE49-F238E27FC236}">
                  <a16:creationId xmlns:a16="http://schemas.microsoft.com/office/drawing/2014/main" id="{BAF0BB2B-B9F0-0A61-AD6F-8686BD267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F4056A42-062F-1A62-B3B9-86C7983C0835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BFB1E2E3-97CE-01A5-CD4D-DBD5150CDE9D}"/>
              </a:ext>
            </a:extLst>
          </p:cNvPr>
          <p:cNvGrpSpPr/>
          <p:nvPr/>
        </p:nvGrpSpPr>
        <p:grpSpPr>
          <a:xfrm>
            <a:off x="1014809" y="5166877"/>
            <a:ext cx="338677" cy="329170"/>
            <a:chOff x="854593" y="1916848"/>
            <a:chExt cx="338677" cy="329170"/>
          </a:xfrm>
        </p:grpSpPr>
        <p:pic>
          <p:nvPicPr>
            <p:cNvPr id="59" name="图形 58">
              <a:extLst>
                <a:ext uri="{FF2B5EF4-FFF2-40B4-BE49-F238E27FC236}">
                  <a16:creationId xmlns:a16="http://schemas.microsoft.com/office/drawing/2014/main" id="{A8FBF0DE-A667-1FC8-27EB-F187F9D79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24997AF5-3A4C-9571-72D2-2E3BF0E9470E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E543956D-191F-FA0F-9005-1ABAFE85E9B6}"/>
              </a:ext>
            </a:extLst>
          </p:cNvPr>
          <p:cNvGrpSpPr/>
          <p:nvPr/>
        </p:nvGrpSpPr>
        <p:grpSpPr>
          <a:xfrm>
            <a:off x="1014809" y="5650639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83B30650-610A-AF57-F6F8-503ECD862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C32A1244-3865-7B72-C0C6-601EED2B02F1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448" name="直线箭头连接符 447">
            <a:extLst>
              <a:ext uri="{FF2B5EF4-FFF2-40B4-BE49-F238E27FC236}">
                <a16:creationId xmlns:a16="http://schemas.microsoft.com/office/drawing/2014/main" id="{131FA258-70C8-D7E0-9919-A4C9677BB185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598828" y="432776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49" name="直线箭头连接符 448">
            <a:extLst>
              <a:ext uri="{FF2B5EF4-FFF2-40B4-BE49-F238E27FC236}">
                <a16:creationId xmlns:a16="http://schemas.microsoft.com/office/drawing/2014/main" id="{27A7C8EE-67A7-7F84-D02E-4C5AD5DEA138}"/>
              </a:ext>
            </a:extLst>
          </p:cNvPr>
          <p:cNvCxnSpPr>
            <a:cxnSpLocks/>
            <a:stCxn id="50" idx="3"/>
            <a:endCxn id="56" idx="1"/>
          </p:cNvCxnSpPr>
          <p:nvPr/>
        </p:nvCxnSpPr>
        <p:spPr>
          <a:xfrm flipV="1">
            <a:off x="598828" y="481284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0" name="直线箭头连接符 449">
            <a:extLst>
              <a:ext uri="{FF2B5EF4-FFF2-40B4-BE49-F238E27FC236}">
                <a16:creationId xmlns:a16="http://schemas.microsoft.com/office/drawing/2014/main" id="{6662BBD0-EB33-BF12-BA32-B6FDAEE14621}"/>
              </a:ext>
            </a:extLst>
          </p:cNvPr>
          <p:cNvCxnSpPr>
            <a:cxnSpLocks/>
            <a:stCxn id="50" idx="3"/>
            <a:endCxn id="59" idx="1"/>
          </p:cNvCxnSpPr>
          <p:nvPr/>
        </p:nvCxnSpPr>
        <p:spPr>
          <a:xfrm>
            <a:off x="598828" y="505768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1" name="直线箭头连接符 450">
            <a:extLst>
              <a:ext uri="{FF2B5EF4-FFF2-40B4-BE49-F238E27FC236}">
                <a16:creationId xmlns:a16="http://schemas.microsoft.com/office/drawing/2014/main" id="{D81A120D-F552-2981-4DF9-7DFD06E4F514}"/>
              </a:ext>
            </a:extLst>
          </p:cNvPr>
          <p:cNvCxnSpPr>
            <a:cxnSpLocks/>
            <a:stCxn id="50" idx="3"/>
            <a:endCxn id="62" idx="1"/>
          </p:cNvCxnSpPr>
          <p:nvPr/>
        </p:nvCxnSpPr>
        <p:spPr>
          <a:xfrm>
            <a:off x="598828" y="505768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2" name="文本框 451">
            <a:extLst>
              <a:ext uri="{FF2B5EF4-FFF2-40B4-BE49-F238E27FC236}">
                <a16:creationId xmlns:a16="http://schemas.microsoft.com/office/drawing/2014/main" id="{81271CB9-81B0-1464-1155-D27D38940D8E}"/>
              </a:ext>
            </a:extLst>
          </p:cNvPr>
          <p:cNvSpPr txBox="1"/>
          <p:nvPr/>
        </p:nvSpPr>
        <p:spPr>
          <a:xfrm>
            <a:off x="1359816" y="503850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53" name="组合 452">
            <a:extLst>
              <a:ext uri="{FF2B5EF4-FFF2-40B4-BE49-F238E27FC236}">
                <a16:creationId xmlns:a16="http://schemas.microsoft.com/office/drawing/2014/main" id="{701B492C-0DD8-4B59-AA89-E0FDBE36BA55}"/>
              </a:ext>
            </a:extLst>
          </p:cNvPr>
          <p:cNvGrpSpPr/>
          <p:nvPr/>
        </p:nvGrpSpPr>
        <p:grpSpPr>
          <a:xfrm>
            <a:off x="1007393" y="6002181"/>
            <a:ext cx="338677" cy="292588"/>
            <a:chOff x="844793" y="2357276"/>
            <a:chExt cx="338677" cy="292588"/>
          </a:xfrm>
        </p:grpSpPr>
        <p:pic>
          <p:nvPicPr>
            <p:cNvPr id="454" name="图形 453">
              <a:extLst>
                <a:ext uri="{FF2B5EF4-FFF2-40B4-BE49-F238E27FC236}">
                  <a16:creationId xmlns:a16="http://schemas.microsoft.com/office/drawing/2014/main" id="{26997B01-3B27-EA52-18FA-5ED6CE1E9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455" name="文本框 454">
              <a:extLst>
                <a:ext uri="{FF2B5EF4-FFF2-40B4-BE49-F238E27FC236}">
                  <a16:creationId xmlns:a16="http://schemas.microsoft.com/office/drawing/2014/main" id="{87C74B8A-B687-91E5-7062-429BCFD1F87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61BA20B2-64C5-8A58-71FD-6A84CF73EF76}"/>
              </a:ext>
            </a:extLst>
          </p:cNvPr>
          <p:cNvCxnSpPr>
            <a:cxnSpLocks/>
            <a:endCxn id="454" idx="1"/>
          </p:cNvCxnSpPr>
          <p:nvPr/>
        </p:nvCxnSpPr>
        <p:spPr>
          <a:xfrm>
            <a:off x="579091" y="505221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7" name="圆角矩形 456">
            <a:extLst>
              <a:ext uri="{FF2B5EF4-FFF2-40B4-BE49-F238E27FC236}">
                <a16:creationId xmlns:a16="http://schemas.microsoft.com/office/drawing/2014/main" id="{6AA2FEB0-63D8-03AD-73AE-7BA57ACD9F3E}"/>
              </a:ext>
            </a:extLst>
          </p:cNvPr>
          <p:cNvSpPr/>
          <p:nvPr/>
        </p:nvSpPr>
        <p:spPr>
          <a:xfrm>
            <a:off x="3474530" y="599481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C0CBF6DF-F0AE-B1C6-4452-A252AC751648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E37468E5-DB2B-8339-6996-193A1698292D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3000AAD2-F189-B6ED-8F93-48A55CA61284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D2C75FC6-B5AC-2019-29D9-01BCD33DC866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27BF2433-4D05-D1B3-9DA3-B5635DB2E032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肘形连接符 473">
            <a:extLst>
              <a:ext uri="{FF2B5EF4-FFF2-40B4-BE49-F238E27FC236}">
                <a16:creationId xmlns:a16="http://schemas.microsoft.com/office/drawing/2014/main" id="{91C51F96-A734-9289-9F8F-6C7501F9929B}"/>
              </a:ext>
            </a:extLst>
          </p:cNvPr>
          <p:cNvCxnSpPr>
            <a:cxnSpLocks/>
            <a:stCxn id="47" idx="2"/>
            <a:endCxn id="46" idx="1"/>
          </p:cNvCxnSpPr>
          <p:nvPr/>
        </p:nvCxnSpPr>
        <p:spPr>
          <a:xfrm flipV="1">
            <a:off x="1479205" y="4952600"/>
            <a:ext cx="1277477" cy="266218"/>
          </a:xfrm>
          <a:prstGeom prst="bentConnector3">
            <a:avLst>
              <a:gd name="adj1" fmla="val 7800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522D5F26-9163-47E0-EAB4-8E17299322A8}"/>
              </a:ext>
            </a:extLst>
          </p:cNvPr>
          <p:cNvCxnSpPr>
            <a:cxnSpLocks/>
            <a:stCxn id="47" idx="2"/>
            <a:endCxn id="457" idx="1"/>
          </p:cNvCxnSpPr>
          <p:nvPr/>
        </p:nvCxnSpPr>
        <p:spPr>
          <a:xfrm>
            <a:off x="1479205" y="5218818"/>
            <a:ext cx="1995325" cy="100559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肘形连接符 483">
            <a:extLst>
              <a:ext uri="{FF2B5EF4-FFF2-40B4-BE49-F238E27FC236}">
                <a16:creationId xmlns:a16="http://schemas.microsoft.com/office/drawing/2014/main" id="{716428E8-4F7B-69F7-FDA7-7F83F06D125D}"/>
              </a:ext>
            </a:extLst>
          </p:cNvPr>
          <p:cNvCxnSpPr>
            <a:cxnSpLocks/>
            <a:stCxn id="457" idx="0"/>
            <a:endCxn id="466" idx="2"/>
          </p:cNvCxnSpPr>
          <p:nvPr/>
        </p:nvCxnSpPr>
        <p:spPr>
          <a:xfrm rot="5400000" flipH="1" flipV="1">
            <a:off x="3781427" y="5186270"/>
            <a:ext cx="899858" cy="717239"/>
          </a:xfrm>
          <a:prstGeom prst="bentConnector3">
            <a:avLst>
              <a:gd name="adj1" fmla="val 28646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B20A1E62-FDB6-360A-154F-DB8A38A2EB16}"/>
              </a:ext>
            </a:extLst>
          </p:cNvPr>
          <p:cNvCxnSpPr>
            <a:cxnSpLocks/>
            <a:stCxn id="457" idx="3"/>
            <a:endCxn id="562" idx="2"/>
          </p:cNvCxnSpPr>
          <p:nvPr/>
        </p:nvCxnSpPr>
        <p:spPr>
          <a:xfrm flipV="1">
            <a:off x="4270943" y="3782832"/>
            <a:ext cx="988085" cy="244157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E8BDC3C7-0E3A-0699-77FC-E441A708F9F1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7F1F6640-1857-B1B6-8E94-856503E34B5E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BA27B4FA-1BF9-5798-CDEE-C40EC05B9987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1A40B78A-5258-19AA-5BC0-0BE3F374F63E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C1883D2B-6D7F-9056-8B58-F20BD686D737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3F907E54-CD3B-D6A9-1031-ED7C641B593E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D474D13F-81AC-1578-23AF-6AD517B58CAE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C48CA717-4FAD-C727-7E7E-659A3DFCE4E6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F9B88C20-BEC3-1AE0-C58F-3D0EB3DD92B1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A1865D24-9F6F-D618-80C4-7D5192AAEB19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EAF5FE69-C12C-A3FF-B335-F14EB797C811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6D0881B3-A091-EE46-E57E-4A3379DA41EC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772BC1FF-B579-2001-3B7B-4932EC3AE66C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20647D8E-8435-3688-B3B9-27B048D89E91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A50B9902-07C6-3FDB-3968-C22243060896}"/>
              </a:ext>
            </a:extLst>
          </p:cNvPr>
          <p:cNvSpPr txBox="1"/>
          <p:nvPr/>
        </p:nvSpPr>
        <p:spPr>
          <a:xfrm>
            <a:off x="2095616" y="6205698"/>
            <a:ext cx="15640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fusioncore.prod.lz.aws.singtel.com</a:t>
            </a:r>
            <a:endParaRPr kumimoji="0" lang="en-US" altLang="zh-CN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b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endParaRPr kumimoji="0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0" name="文本框 459">
            <a:extLst>
              <a:ext uri="{FF2B5EF4-FFF2-40B4-BE49-F238E27FC236}">
                <a16:creationId xmlns:a16="http://schemas.microsoft.com/office/drawing/2014/main" id="{357C106B-D294-408A-4CBC-39E31279802B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CD42091B-8EA5-C0C0-C792-22B6CFF81AFF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DBC0F4BA-4647-1EE9-643A-A0124B495107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6CD11FC4-7D4A-0B82-C900-A42966195E09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F971F87-977B-5C15-819F-481530AB5CF1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F3CB472-2C05-F835-1D49-D7E480E9B0D2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60F16CFB-5429-8C8A-834D-03F26C7A3149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3" name="直线箭头连接符 482">
            <a:extLst>
              <a:ext uri="{FF2B5EF4-FFF2-40B4-BE49-F238E27FC236}">
                <a16:creationId xmlns:a16="http://schemas.microsoft.com/office/drawing/2014/main" id="{667516D7-4175-C67F-9E88-5D329C33A1EC}"/>
              </a:ext>
            </a:extLst>
          </p:cNvPr>
          <p:cNvCxnSpPr>
            <a:cxnSpLocks/>
            <a:stCxn id="46" idx="3"/>
            <a:endCxn id="466" idx="1"/>
          </p:cNvCxnSpPr>
          <p:nvPr/>
        </p:nvCxnSpPr>
        <p:spPr>
          <a:xfrm>
            <a:off x="3553095" y="4952600"/>
            <a:ext cx="638674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8A4A0F08-E85F-86FA-D05D-31A1EC93314C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7CFCC92C-7362-16B2-AEE0-CB44A28734B8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B97C08C7-B432-71A5-FEAC-FA2D497906F4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B9253A3B-18F3-152F-255B-9AC61EFEF32B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20503185-6206-065E-00E0-892DA22DB318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8907CE76-2439-67C4-E0EB-3B8D995494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4E04ABF6-9745-8D03-460C-7AA060805F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9686E3A5-B140-2201-FD9E-F4BA05F0DD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1C22A81E-9053-924A-FEEB-0BCF209D846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C2C0558F-0240-F89C-49A3-DDC7A9209FE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C756E1B2-C906-E481-B329-DDD8AF5E0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FF579ADE-FEE7-44CE-6038-DE7BF1DDA234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581CA7EE-E3F2-1F67-60CA-8C6CB42ACB3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3844349D-C11F-7AB0-1B33-426064891BCA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9BAD90D4-066B-361A-934F-6F9B155E61BE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61C867E0-3857-640A-0C6C-65CCB5770AE8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B042B713-11A1-EEE9-98C7-20884830F5E4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4" name="图形 383">
            <a:extLst>
              <a:ext uri="{FF2B5EF4-FFF2-40B4-BE49-F238E27FC236}">
                <a16:creationId xmlns:a16="http://schemas.microsoft.com/office/drawing/2014/main" id="{60F48D1A-B568-5FCB-D908-8E704FB19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8645" y="6000182"/>
            <a:ext cx="183678" cy="183678"/>
          </a:xfrm>
          <a:prstGeom prst="rect">
            <a:avLst/>
          </a:prstGeom>
        </p:spPr>
      </p:pic>
      <p:sp>
        <p:nvSpPr>
          <p:cNvPr id="388" name="文本框 387">
            <a:extLst>
              <a:ext uri="{FF2B5EF4-FFF2-40B4-BE49-F238E27FC236}">
                <a16:creationId xmlns:a16="http://schemas.microsoft.com/office/drawing/2014/main" id="{4D73C08B-BF87-E300-15FB-DBA922F2A0AE}"/>
              </a:ext>
            </a:extLst>
          </p:cNvPr>
          <p:cNvSpPr txBox="1"/>
          <p:nvPr/>
        </p:nvSpPr>
        <p:spPr>
          <a:xfrm>
            <a:off x="3603464" y="6070080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New 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B51ADED6-B117-729D-E424-3C50881E0ED8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3A7548D-F728-9592-DAAF-106BE52A1263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729DCF3D-CF4C-8A30-D2B1-0486189AA1B1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60D28554-B40F-AA50-609E-FF52CF92B9A7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7909E944-E5F1-C76E-DCE1-7FAB393F87C0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直线箭头连接符 417">
            <a:extLst>
              <a:ext uri="{FF2B5EF4-FFF2-40B4-BE49-F238E27FC236}">
                <a16:creationId xmlns:a16="http://schemas.microsoft.com/office/drawing/2014/main" id="{1C4468BE-C22C-CE7C-5BAA-4ACC250573BB}"/>
              </a:ext>
            </a:extLst>
          </p:cNvPr>
          <p:cNvCxnSpPr>
            <a:cxnSpLocks/>
            <a:stCxn id="521" idx="3"/>
            <a:endCxn id="534" idx="1"/>
          </p:cNvCxnSpPr>
          <p:nvPr/>
        </p:nvCxnSpPr>
        <p:spPr>
          <a:xfrm>
            <a:off x="7722474" y="2618487"/>
            <a:ext cx="503644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223D9EAB-5A85-C414-8A8F-569EFE165D78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46A735A0-53A4-4704-01EA-A8869E2BED57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009F4132-959A-9A61-0F05-A1BEAD320EB8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C36DF8EE-4265-F921-C919-FB30454F5D71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1656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36A1A0B-A8E1-C568-E025-BE5963544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9DFC80C2-9F17-A180-198E-FD99771C97D4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D3A269FB-C76A-1F13-A2D5-C6BC4B28765F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74C354A1-CD96-D8D4-3AFF-55EC6FBCC9E8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D65F4DF-7809-0734-4CA9-63B0CD67BCD3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D92C981-A325-D429-4E4B-F37EAF55D4D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39FFF419-8332-48CB-E07E-F0A539623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0E2FC1F5-FFF8-5955-0A06-2E38CF923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AF03579B-871A-3291-BC17-2E87C7356D16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CB422B2-F5BF-49C9-898C-33E346D8DECE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EF0BD557-2167-B867-897E-6294109B1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295B67D7-49D3-46A0-D6A0-67A383FFE2D9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DF4DAA6-CFE1-81E7-95CB-57FD42314C46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C588716D-D20A-9D71-C605-C8E6547EA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739C7694-01F6-1879-E8EF-65228650D697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AFD0DB14-21E3-96BD-713C-AD4F52A4263C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ADAA4B2-BA1F-4703-6BB5-5F4D0AB3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C07C77DB-4D90-4CBE-59A0-732F5D3DE858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64FDB9A5-55A6-7417-DC1E-762D774D7758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1CAAFD23-6C67-10F7-8C7D-EBBF1DEB3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83963FE6-70A3-3F7D-68CC-E357E82C7013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DB248F93-72FC-E9CC-81FD-DDD34234EF4C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26B6E479-81B7-22E1-24F8-35DC01D87B4F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4F63111B-46A5-1E54-49FD-313285470F83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5DCFEB1D-82C0-067C-0DE9-5BE02B8781C1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7BB9B1E3-51E8-3750-41B3-D0E9B1EE0309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3EC15A13-2AF6-BB78-D4E2-35F4F3D7133C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6B00238B-4E08-2ED6-432E-F44747918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34F5500-EDD3-DCC4-2A95-9DB7582035C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CAAD2CE9-B7F1-071C-2D62-28F957B5965B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72F4FB7-86E0-E7D6-252A-EE6D708F8C40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1397DF6F-4892-E8A5-F92F-822C6C3F2C8B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6095F4AD-AB59-3598-3D2D-B34048883FAD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D5DE3F05-1290-6167-BE8B-7E7DAAEC50E8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D7ABF025-0024-9CD8-25A9-4DE38051E60A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圆角矩形 45">
            <a:extLst>
              <a:ext uri="{FF2B5EF4-FFF2-40B4-BE49-F238E27FC236}">
                <a16:creationId xmlns:a16="http://schemas.microsoft.com/office/drawing/2014/main" id="{835F682F-EBCA-1A66-16DD-F262993BE661}"/>
              </a:ext>
            </a:extLst>
          </p:cNvPr>
          <p:cNvSpPr/>
          <p:nvPr/>
        </p:nvSpPr>
        <p:spPr>
          <a:xfrm>
            <a:off x="2756682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F85EF6AD-1574-EADB-5A60-94008D10D28A}"/>
              </a:ext>
            </a:extLst>
          </p:cNvPr>
          <p:cNvSpPr/>
          <p:nvPr/>
        </p:nvSpPr>
        <p:spPr>
          <a:xfrm rot="16200000">
            <a:off x="-289025" y="455762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FC9A3AFE-4D99-7203-CF3C-9F2EDA38661B}"/>
              </a:ext>
            </a:extLst>
          </p:cNvPr>
          <p:cNvGrpSpPr/>
          <p:nvPr/>
        </p:nvGrpSpPr>
        <p:grpSpPr>
          <a:xfrm>
            <a:off x="263939" y="4926880"/>
            <a:ext cx="334889" cy="261611"/>
            <a:chOff x="433187" y="1198966"/>
            <a:chExt cx="517377" cy="401131"/>
          </a:xfrm>
        </p:grpSpPr>
        <p:pic>
          <p:nvPicPr>
            <p:cNvPr id="49" name="图形 48" descr="女性形象 纯色填充">
              <a:extLst>
                <a:ext uri="{FF2B5EF4-FFF2-40B4-BE49-F238E27FC236}">
                  <a16:creationId xmlns:a16="http://schemas.microsoft.com/office/drawing/2014/main" id="{1ADECBBD-0A29-2D1F-E68E-112386283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50" name="图形 49" descr="男性形象 纯色填充">
              <a:extLst>
                <a:ext uri="{FF2B5EF4-FFF2-40B4-BE49-F238E27FC236}">
                  <a16:creationId xmlns:a16="http://schemas.microsoft.com/office/drawing/2014/main" id="{4EF1F46D-D382-1AD7-D445-2E3E6AA17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4BAE600D-76ED-5279-CE3A-4E5CF2571443}"/>
              </a:ext>
            </a:extLst>
          </p:cNvPr>
          <p:cNvSpPr txBox="1"/>
          <p:nvPr/>
        </p:nvSpPr>
        <p:spPr>
          <a:xfrm>
            <a:off x="130891" y="5145867"/>
            <a:ext cx="573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Internal</a:t>
            </a:r>
            <a:b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</a:b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User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31D8D149-B7CF-45F3-3BD7-DAC845634125}"/>
              </a:ext>
            </a:extLst>
          </p:cNvPr>
          <p:cNvGrpSpPr/>
          <p:nvPr/>
        </p:nvGrpSpPr>
        <p:grpSpPr>
          <a:xfrm>
            <a:off x="1014809" y="4201607"/>
            <a:ext cx="338677" cy="330488"/>
            <a:chOff x="847615" y="1093987"/>
            <a:chExt cx="338677" cy="330488"/>
          </a:xfrm>
        </p:grpSpPr>
        <p:pic>
          <p:nvPicPr>
            <p:cNvPr id="53" name="图形 52">
              <a:extLst>
                <a:ext uri="{FF2B5EF4-FFF2-40B4-BE49-F238E27FC236}">
                  <a16:creationId xmlns:a16="http://schemas.microsoft.com/office/drawing/2014/main" id="{F29E4647-E854-C380-B272-AFECC704D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A76741E3-C0EE-4243-614A-68133896E394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F88151E0-011E-9882-5276-25F197BBC89C}"/>
              </a:ext>
            </a:extLst>
          </p:cNvPr>
          <p:cNvGrpSpPr/>
          <p:nvPr/>
        </p:nvGrpSpPr>
        <p:grpSpPr>
          <a:xfrm>
            <a:off x="1017984" y="4686687"/>
            <a:ext cx="338677" cy="325598"/>
            <a:chOff x="849277" y="1503764"/>
            <a:chExt cx="338677" cy="325598"/>
          </a:xfrm>
        </p:grpSpPr>
        <p:pic>
          <p:nvPicPr>
            <p:cNvPr id="56" name="图形 55">
              <a:extLst>
                <a:ext uri="{FF2B5EF4-FFF2-40B4-BE49-F238E27FC236}">
                  <a16:creationId xmlns:a16="http://schemas.microsoft.com/office/drawing/2014/main" id="{E166684D-F85E-ECBB-7E71-B590C0A83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6584CD34-1DC2-37A6-5A18-7CE13CFE81FB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5C2EE3D7-58B7-DBE1-D918-4CABD3B17046}"/>
              </a:ext>
            </a:extLst>
          </p:cNvPr>
          <p:cNvGrpSpPr/>
          <p:nvPr/>
        </p:nvGrpSpPr>
        <p:grpSpPr>
          <a:xfrm>
            <a:off x="1014809" y="5166877"/>
            <a:ext cx="338677" cy="329170"/>
            <a:chOff x="854593" y="1916848"/>
            <a:chExt cx="338677" cy="329170"/>
          </a:xfrm>
        </p:grpSpPr>
        <p:pic>
          <p:nvPicPr>
            <p:cNvPr id="59" name="图形 58">
              <a:extLst>
                <a:ext uri="{FF2B5EF4-FFF2-40B4-BE49-F238E27FC236}">
                  <a16:creationId xmlns:a16="http://schemas.microsoft.com/office/drawing/2014/main" id="{4C74CB0A-D662-DDB4-D877-ED81B8318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FAE82011-58E9-D47F-7D0B-EF75D5DAA4A6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810F96D5-4C7D-E9F5-C873-5E12D35AEBF0}"/>
              </a:ext>
            </a:extLst>
          </p:cNvPr>
          <p:cNvGrpSpPr/>
          <p:nvPr/>
        </p:nvGrpSpPr>
        <p:grpSpPr>
          <a:xfrm>
            <a:off x="1014809" y="5650639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C413714B-856B-474B-95C8-39B23F9F4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BDC65EF6-E923-2D10-04FF-C5B5112D36E5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448" name="直线箭头连接符 447">
            <a:extLst>
              <a:ext uri="{FF2B5EF4-FFF2-40B4-BE49-F238E27FC236}">
                <a16:creationId xmlns:a16="http://schemas.microsoft.com/office/drawing/2014/main" id="{A655AD20-BB28-C87A-14DC-C4940BF3B5DD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598828" y="432776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49" name="直线箭头连接符 448">
            <a:extLst>
              <a:ext uri="{FF2B5EF4-FFF2-40B4-BE49-F238E27FC236}">
                <a16:creationId xmlns:a16="http://schemas.microsoft.com/office/drawing/2014/main" id="{E36AB8DB-400C-C0A4-E2BF-7464B671E928}"/>
              </a:ext>
            </a:extLst>
          </p:cNvPr>
          <p:cNvCxnSpPr>
            <a:cxnSpLocks/>
            <a:stCxn id="50" idx="3"/>
            <a:endCxn id="56" idx="1"/>
          </p:cNvCxnSpPr>
          <p:nvPr/>
        </p:nvCxnSpPr>
        <p:spPr>
          <a:xfrm flipV="1">
            <a:off x="598828" y="481284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0" name="直线箭头连接符 449">
            <a:extLst>
              <a:ext uri="{FF2B5EF4-FFF2-40B4-BE49-F238E27FC236}">
                <a16:creationId xmlns:a16="http://schemas.microsoft.com/office/drawing/2014/main" id="{F1B7F0CB-17B2-6578-E67C-0B0A6347795D}"/>
              </a:ext>
            </a:extLst>
          </p:cNvPr>
          <p:cNvCxnSpPr>
            <a:cxnSpLocks/>
            <a:stCxn id="50" idx="3"/>
            <a:endCxn id="59" idx="1"/>
          </p:cNvCxnSpPr>
          <p:nvPr/>
        </p:nvCxnSpPr>
        <p:spPr>
          <a:xfrm>
            <a:off x="598828" y="505768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1" name="直线箭头连接符 450">
            <a:extLst>
              <a:ext uri="{FF2B5EF4-FFF2-40B4-BE49-F238E27FC236}">
                <a16:creationId xmlns:a16="http://schemas.microsoft.com/office/drawing/2014/main" id="{5CF1E1C9-571E-A7BD-1CD6-78AAA40DB7C4}"/>
              </a:ext>
            </a:extLst>
          </p:cNvPr>
          <p:cNvCxnSpPr>
            <a:cxnSpLocks/>
            <a:stCxn id="50" idx="3"/>
            <a:endCxn id="62" idx="1"/>
          </p:cNvCxnSpPr>
          <p:nvPr/>
        </p:nvCxnSpPr>
        <p:spPr>
          <a:xfrm>
            <a:off x="598828" y="505768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2" name="文本框 451">
            <a:extLst>
              <a:ext uri="{FF2B5EF4-FFF2-40B4-BE49-F238E27FC236}">
                <a16:creationId xmlns:a16="http://schemas.microsoft.com/office/drawing/2014/main" id="{6D0923A3-60B1-BBE5-68DC-ED046F3E2810}"/>
              </a:ext>
            </a:extLst>
          </p:cNvPr>
          <p:cNvSpPr txBox="1"/>
          <p:nvPr/>
        </p:nvSpPr>
        <p:spPr>
          <a:xfrm>
            <a:off x="1359816" y="503850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53" name="组合 452">
            <a:extLst>
              <a:ext uri="{FF2B5EF4-FFF2-40B4-BE49-F238E27FC236}">
                <a16:creationId xmlns:a16="http://schemas.microsoft.com/office/drawing/2014/main" id="{6BD63927-A415-C7E1-77E5-D52160F6B30C}"/>
              </a:ext>
            </a:extLst>
          </p:cNvPr>
          <p:cNvGrpSpPr/>
          <p:nvPr/>
        </p:nvGrpSpPr>
        <p:grpSpPr>
          <a:xfrm>
            <a:off x="1007393" y="6002181"/>
            <a:ext cx="338677" cy="292588"/>
            <a:chOff x="844793" y="2357276"/>
            <a:chExt cx="338677" cy="292588"/>
          </a:xfrm>
        </p:grpSpPr>
        <p:pic>
          <p:nvPicPr>
            <p:cNvPr id="454" name="图形 453">
              <a:extLst>
                <a:ext uri="{FF2B5EF4-FFF2-40B4-BE49-F238E27FC236}">
                  <a16:creationId xmlns:a16="http://schemas.microsoft.com/office/drawing/2014/main" id="{52EB5CF7-9B69-C681-8BE9-4B03BD5DD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455" name="文本框 454">
              <a:extLst>
                <a:ext uri="{FF2B5EF4-FFF2-40B4-BE49-F238E27FC236}">
                  <a16:creationId xmlns:a16="http://schemas.microsoft.com/office/drawing/2014/main" id="{D920A84E-6B1E-0ECA-D2D3-A8C4874FD089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41CF5194-5DD4-950D-86A3-41FB0F55DA31}"/>
              </a:ext>
            </a:extLst>
          </p:cNvPr>
          <p:cNvCxnSpPr>
            <a:cxnSpLocks/>
            <a:endCxn id="454" idx="1"/>
          </p:cNvCxnSpPr>
          <p:nvPr/>
        </p:nvCxnSpPr>
        <p:spPr>
          <a:xfrm>
            <a:off x="579091" y="505221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7" name="圆角矩形 456">
            <a:extLst>
              <a:ext uri="{FF2B5EF4-FFF2-40B4-BE49-F238E27FC236}">
                <a16:creationId xmlns:a16="http://schemas.microsoft.com/office/drawing/2014/main" id="{719EC8A2-B756-6531-BE44-00F5F81ACE0F}"/>
              </a:ext>
            </a:extLst>
          </p:cNvPr>
          <p:cNvSpPr/>
          <p:nvPr/>
        </p:nvSpPr>
        <p:spPr>
          <a:xfrm>
            <a:off x="3474530" y="599481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8A411F7-72CB-5745-182D-F2007F977F3B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E220AE8-724C-4C25-ED42-EF3DCC556977}"/>
              </a:ext>
            </a:extLst>
          </p:cNvPr>
          <p:cNvCxnSpPr>
            <a:cxnSpLocks/>
            <a:stCxn id="39" idx="2"/>
            <a:endCxn id="466" idx="1"/>
          </p:cNvCxnSpPr>
          <p:nvPr/>
        </p:nvCxnSpPr>
        <p:spPr>
          <a:xfrm rot="16200000" flipH="1">
            <a:off x="2281392" y="3042223"/>
            <a:ext cx="3501722" cy="31903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AE276238-B4DA-7612-5ED2-5A9B2DF6E2C0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5234688A-545E-B6E0-8A7E-2EEE50D7922E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007D440C-8EE3-F795-A75E-2840F420C90C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肘形连接符 473">
            <a:extLst>
              <a:ext uri="{FF2B5EF4-FFF2-40B4-BE49-F238E27FC236}">
                <a16:creationId xmlns:a16="http://schemas.microsoft.com/office/drawing/2014/main" id="{EF106532-4FD2-A5E7-0A19-BDA8878D26EC}"/>
              </a:ext>
            </a:extLst>
          </p:cNvPr>
          <p:cNvCxnSpPr>
            <a:cxnSpLocks/>
            <a:stCxn id="47" idx="2"/>
            <a:endCxn id="46" idx="1"/>
          </p:cNvCxnSpPr>
          <p:nvPr/>
        </p:nvCxnSpPr>
        <p:spPr>
          <a:xfrm flipV="1">
            <a:off x="1479205" y="4952600"/>
            <a:ext cx="1277477" cy="266218"/>
          </a:xfrm>
          <a:prstGeom prst="bentConnector3">
            <a:avLst>
              <a:gd name="adj1" fmla="val 7800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6F1F91B5-C0D5-C476-3FAC-1F0EA854FCA3}"/>
              </a:ext>
            </a:extLst>
          </p:cNvPr>
          <p:cNvCxnSpPr>
            <a:cxnSpLocks/>
            <a:stCxn id="47" idx="2"/>
            <a:endCxn id="457" idx="1"/>
          </p:cNvCxnSpPr>
          <p:nvPr/>
        </p:nvCxnSpPr>
        <p:spPr>
          <a:xfrm>
            <a:off x="1479205" y="5218818"/>
            <a:ext cx="1995325" cy="100559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肘形连接符 483">
            <a:extLst>
              <a:ext uri="{FF2B5EF4-FFF2-40B4-BE49-F238E27FC236}">
                <a16:creationId xmlns:a16="http://schemas.microsoft.com/office/drawing/2014/main" id="{C02C4181-F142-250E-C3CC-765C0972C634}"/>
              </a:ext>
            </a:extLst>
          </p:cNvPr>
          <p:cNvCxnSpPr>
            <a:cxnSpLocks/>
            <a:stCxn id="457" idx="0"/>
            <a:endCxn id="466" idx="2"/>
          </p:cNvCxnSpPr>
          <p:nvPr/>
        </p:nvCxnSpPr>
        <p:spPr>
          <a:xfrm rot="5400000" flipH="1" flipV="1">
            <a:off x="3781427" y="5186270"/>
            <a:ext cx="899858" cy="717239"/>
          </a:xfrm>
          <a:prstGeom prst="bentConnector3">
            <a:avLst>
              <a:gd name="adj1" fmla="val 28646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4E9AF1F7-AFCA-E3A4-7FFC-6C6D80A70EDE}"/>
              </a:ext>
            </a:extLst>
          </p:cNvPr>
          <p:cNvCxnSpPr>
            <a:cxnSpLocks/>
            <a:stCxn id="457" idx="3"/>
            <a:endCxn id="562" idx="2"/>
          </p:cNvCxnSpPr>
          <p:nvPr/>
        </p:nvCxnSpPr>
        <p:spPr>
          <a:xfrm flipV="1">
            <a:off x="4270943" y="3782832"/>
            <a:ext cx="988085" cy="2441576"/>
          </a:xfrm>
          <a:prstGeom prst="bentConnector2">
            <a:avLst/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2CFFCE44-A763-E04A-5A6A-13698F561131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5704AC48-93BE-9178-F73F-5D4B742E2E57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08DD8FA1-FF80-2506-F655-CA3B3D69134C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9078943F-2F4E-8B7B-7142-69814A7AA175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E7469B17-F94D-99A2-D095-8C7E731559D7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0CCC24DE-47FB-6EAD-1272-EDE343B14CE7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3DEE05BA-9315-44C1-F8FE-0DC8C32ED4C1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426B9A11-8B0D-58C3-F4C1-721878C13220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8183E3F2-9D3F-65A6-E572-4BE6A30E3800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F7159BF6-FA7D-FE76-CE14-DF1C707250CB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8F7462B5-A710-0A27-940E-0FC038F4628C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E7F7D629-BFE3-1893-CB8F-5A4DFC9356E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04346DDC-A5D2-4347-CBF0-52CE0C55E41B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9047BFD1-941E-C657-70B4-15336DEF9353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169975D6-B9DB-4F81-C843-5E27965B3955}"/>
              </a:ext>
            </a:extLst>
          </p:cNvPr>
          <p:cNvSpPr txBox="1"/>
          <p:nvPr/>
        </p:nvSpPr>
        <p:spPr>
          <a:xfrm>
            <a:off x="2095616" y="6205698"/>
            <a:ext cx="15640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fusioncore.prod.lz.aws.singtel.com</a:t>
            </a:r>
            <a:endParaRPr kumimoji="0" lang="en-US" altLang="zh-CN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b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endParaRPr kumimoji="0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0" name="文本框 459">
            <a:extLst>
              <a:ext uri="{FF2B5EF4-FFF2-40B4-BE49-F238E27FC236}">
                <a16:creationId xmlns:a16="http://schemas.microsoft.com/office/drawing/2014/main" id="{307486BD-E88F-5997-EE1B-60978AAD47D2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A3502457-085F-4FA6-7462-93E3939941A5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7D3B2D34-D469-379F-5F93-0D130A46890D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4909F3BF-B95F-0614-0689-1447D8B4EFF8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6B8957F-7D09-1C1F-772E-9686922A35EA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8C9238A-0947-49CA-22C5-29FBB0D52218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D45A666D-ADE2-DCE7-1300-CE839DBA2369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6" name="文本框 475">
            <a:extLst>
              <a:ext uri="{FF2B5EF4-FFF2-40B4-BE49-F238E27FC236}">
                <a16:creationId xmlns:a16="http://schemas.microsoft.com/office/drawing/2014/main" id="{4F4FBDCB-2722-39D9-D308-D62E2CF3CC22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5874674B-F1EC-C3F5-A68D-20572F3F9B8F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744E78D9-1B83-7342-3CE9-7F4717146B1D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63F90CB6-F381-07E5-17B4-FA4556AC3BDA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C757DD64-C7EC-4BAC-37DB-D7B376DC85CF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E811A21C-C689-A16C-620F-478EE18B55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0040FA55-8F65-6629-5661-725AD9332F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38E9DF57-0E33-2CB6-CB82-603D52ECF7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068CF608-2DAC-1DAA-5E81-D3DD755A55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9B6DC200-F7DD-881D-31FD-1DFF4C4432F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DE1B7700-37B0-6544-B095-36D4438CE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7A320382-3F95-A472-62D9-FEF53BB443E9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9FD8B752-812C-AD2B-C5A4-9F6A1D60A4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F285F73B-A0F5-5751-C3FA-667C9F68D83E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E3D4096-BD40-4988-2034-E7704FB5463B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035BBABB-0E79-4FF1-9A9F-C4E2A01B2EA8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1AD54A67-C12D-75EE-B9D4-531BA6F4617E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4" name="图形 383">
            <a:extLst>
              <a:ext uri="{FF2B5EF4-FFF2-40B4-BE49-F238E27FC236}">
                <a16:creationId xmlns:a16="http://schemas.microsoft.com/office/drawing/2014/main" id="{C7683291-3127-5BFA-B8B2-5741789E0F0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8645" y="6000182"/>
            <a:ext cx="183678" cy="183678"/>
          </a:xfrm>
          <a:prstGeom prst="rect">
            <a:avLst/>
          </a:prstGeom>
        </p:spPr>
      </p:pic>
      <p:sp>
        <p:nvSpPr>
          <p:cNvPr id="388" name="文本框 387">
            <a:extLst>
              <a:ext uri="{FF2B5EF4-FFF2-40B4-BE49-F238E27FC236}">
                <a16:creationId xmlns:a16="http://schemas.microsoft.com/office/drawing/2014/main" id="{9DFAC056-42CC-8B5D-6A45-BDD7A80E8F34}"/>
              </a:ext>
            </a:extLst>
          </p:cNvPr>
          <p:cNvSpPr txBox="1"/>
          <p:nvPr/>
        </p:nvSpPr>
        <p:spPr>
          <a:xfrm>
            <a:off x="3603464" y="6070080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New 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D444AB41-60BA-3438-A8E6-C0A0455CC518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2ACF6A6-1DB4-857C-C5A6-389FA66986E0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26457108-6766-6E2F-E63A-73663EF4F312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BFA0EC86-4060-8C48-BC31-57BE0D04A7C0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E8439A19-232A-8564-2267-C42940D630E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直线箭头连接符 417">
            <a:extLst>
              <a:ext uri="{FF2B5EF4-FFF2-40B4-BE49-F238E27FC236}">
                <a16:creationId xmlns:a16="http://schemas.microsoft.com/office/drawing/2014/main" id="{E8514D45-0FD8-34DB-9966-91D6F5170711}"/>
              </a:ext>
            </a:extLst>
          </p:cNvPr>
          <p:cNvCxnSpPr>
            <a:cxnSpLocks/>
            <a:stCxn id="521" idx="3"/>
            <a:endCxn id="535" idx="1"/>
          </p:cNvCxnSpPr>
          <p:nvPr/>
        </p:nvCxnSpPr>
        <p:spPr>
          <a:xfrm>
            <a:off x="7722474" y="2618487"/>
            <a:ext cx="515706" cy="2334113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75F4FDA6-9B4E-19E6-93C3-339FA3D76153}"/>
              </a:ext>
            </a:extLst>
          </p:cNvPr>
          <p:cNvCxnSpPr>
            <a:cxnSpLocks/>
            <a:stCxn id="45" idx="3"/>
            <a:endCxn id="466" idx="1"/>
          </p:cNvCxnSpPr>
          <p:nvPr/>
        </p:nvCxnSpPr>
        <p:spPr>
          <a:xfrm>
            <a:off x="3553096" y="2618487"/>
            <a:ext cx="638673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6DFD77B7-8309-071A-D60A-B8FE8DBAA245}"/>
              </a:ext>
            </a:extLst>
          </p:cNvPr>
          <p:cNvCxnSpPr>
            <a:cxnSpLocks/>
            <a:endCxn id="498" idx="2"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肘形连接符 463">
            <a:extLst>
              <a:ext uri="{FF2B5EF4-FFF2-40B4-BE49-F238E27FC236}">
                <a16:creationId xmlns:a16="http://schemas.microsoft.com/office/drawing/2014/main" id="{C1188AC9-7050-7A94-3C80-11C4BDEFF1DF}"/>
              </a:ext>
            </a:extLst>
          </p:cNvPr>
          <p:cNvCxnSpPr>
            <a:cxnSpLocks/>
            <a:endCxn id="499" idx="2"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7" name="文本框 476">
            <a:extLst>
              <a:ext uri="{FF2B5EF4-FFF2-40B4-BE49-F238E27FC236}">
                <a16:creationId xmlns:a16="http://schemas.microsoft.com/office/drawing/2014/main" id="{E045880B-66BF-885C-EF6D-962C36D4EB4A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</p:spTree>
    <p:extLst>
      <p:ext uri="{BB962C8B-B14F-4D97-AF65-F5344CB8AC3E}">
        <p14:creationId xmlns:p14="http://schemas.microsoft.com/office/powerpoint/2010/main" val="1950650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1FC4670-2C6C-CC3B-D9A8-1E33EDF6D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6B265636-5892-19CA-AAB1-24998277FABF}"/>
              </a:ext>
            </a:extLst>
          </p:cNvPr>
          <p:cNvSpPr/>
          <p:nvPr/>
        </p:nvSpPr>
        <p:spPr>
          <a:xfrm>
            <a:off x="2126999" y="968443"/>
            <a:ext cx="7140017" cy="5719626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DF610531-7877-A620-7FD5-83CC705BFB2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C15B07F-A0DF-BA31-8920-A0E0C9044C5F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1D4BAABE-4498-7E68-3F35-90643172F93C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BE63B310-2B84-D3F7-1B6B-57C6249C3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1ACD30F7-622C-B000-7B07-EA7D9D3C0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902456F6-C90E-1243-7DD6-4081C8CDB39B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1C78A74-5014-33AC-278B-E20B810CE890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CE675D0C-24A1-1D1E-05FA-1676BBB1D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C62D7E47-41F1-CBAA-5AB8-B614B000680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DCAA6-8DCF-3A44-8334-186AFBE3C9D1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985D5BA-2505-D67E-4C88-4722C9B11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C30D821-756E-5EA8-5DE5-2A4CA7DEB00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5EA9D519-E12E-44C2-9BDA-971E4376F949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03D6671-91DA-5295-93A4-F4A20238D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E114E7D5-7A4B-01CA-0974-9F85D7C002DB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3C04435-0D96-C51D-5EC1-992B5C62E57A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70ADBDE-F12D-4F13-1ED8-7F52C6BEC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18B64730-1F4F-3586-F3E0-D5D8823AC2C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068191AF-2D52-32D2-ACC5-F41C0EC0ACA1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952018DC-FBE4-6E68-3B61-DE63D355C217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BB7E239B-9D85-64BF-2DAF-B83F5FAB7DBC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B6EBB345-A7FB-9F74-1D87-23036837F0A3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EEC7171-5943-6A02-CCAC-8D4F9522BE8C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5D51A65F-C063-BC02-8F75-56078F1B66B2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9737ECCA-6CDB-A80F-7201-5E1679EC7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374C78C-FEE1-D34D-AA1E-E10790E41258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2A48B3B4-5109-F425-748F-5ACD23AAAFCC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662FCCB-D47F-DD60-8D7B-074921BB2675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60DF78C0-246C-FABB-8F0D-E5295D3F4BE0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E2DD486-4EA1-51D3-6A94-E7059CB0F054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C5C5C9A1-84F9-5D72-1B0D-D78616910F08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F7AF6D53-3A9D-64E7-D7F4-B267CF326C34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AC9420FF-F0F3-EA94-CDB4-D7F26BFDE37B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EB5BF338-D47D-7387-4446-20E761F8BC7A}"/>
              </a:ext>
            </a:extLst>
          </p:cNvPr>
          <p:cNvCxnSpPr>
            <a:cxnSpLocks/>
            <a:stCxn id="39" idx="2"/>
            <a:endCxn id="466" idx="1"/>
          </p:cNvCxnSpPr>
          <p:nvPr/>
        </p:nvCxnSpPr>
        <p:spPr>
          <a:xfrm rot="16200000" flipH="1">
            <a:off x="2281392" y="3042223"/>
            <a:ext cx="3501722" cy="31903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2ED3DA21-63FF-C426-D19C-8C3A973044B8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C813620E-643E-F948-1B06-F6A9036412C5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4A2FAA03-7045-C008-63F4-68401B7C946A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1EB8BFA5-3B70-2AC3-A112-9C2167378CF4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88FE07E2-A163-7FD0-EEE4-E29FF3E21017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A411747D-C511-B3E3-9688-1644B0B84DE2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8D26088C-F0ED-8BFA-8D9D-0CFECA6A2A13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2D209E0A-1AC5-0116-448D-4B5E732BB3A3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C275F952-2896-D1C7-6CBD-221A82D07566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3A19359F-3986-7BF2-37AF-A86B24234878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37977674-D993-4B12-FB55-6F060645AB27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A28C1D09-9BB9-17B1-5193-2A964598D01F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1A80F53A-DCAE-4F41-7790-36F5B866B627}"/>
              </a:ext>
            </a:extLst>
          </p:cNvPr>
          <p:cNvCxnSpPr>
            <a:cxnSpLocks/>
            <a:stCxn id="5" idx="3"/>
            <a:endCxn id="522" idx="0"/>
          </p:cNvCxnSpPr>
          <p:nvPr/>
        </p:nvCxnSpPr>
        <p:spPr>
          <a:xfrm>
            <a:off x="6721435" y="3694471"/>
            <a:ext cx="602832" cy="111576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2A8A23B8-F78F-5CD6-23B5-859BF8E72E5C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2C5BA602-BDCA-33B7-DE38-8EEB9A497404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E537A0E7-2FFA-9277-A3A0-B959441C9FE0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8AFCC878-B770-9EFA-1C7D-369653FED29A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9CC5934-B5E9-1527-1B14-36AD8F56669C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76" name="文本框 475">
            <a:extLst>
              <a:ext uri="{FF2B5EF4-FFF2-40B4-BE49-F238E27FC236}">
                <a16:creationId xmlns:a16="http://schemas.microsoft.com/office/drawing/2014/main" id="{FDC151E1-0C18-60E8-8615-23052552D4EC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CDB11F5E-3242-A4CA-8A5D-7707D120E7E5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54146484-6559-8425-FDC6-73D197758B21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7" name="图片 556">
            <a:extLst>
              <a:ext uri="{FF2B5EF4-FFF2-40B4-BE49-F238E27FC236}">
                <a16:creationId xmlns:a16="http://schemas.microsoft.com/office/drawing/2014/main" id="{329997EF-F791-D6BE-F5E7-54EAE391C7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97DA3B80-0A7B-6E62-554C-D10800ADCEC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B60FB5C2-B420-F7F3-524C-844F797CE7A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F5EDE3FB-6518-1D32-9C2A-B67844DDF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0BD8D297-C6E7-CDA4-B4B1-10C0D152DA16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D7589F9B-B93F-509E-91D1-B55AAB16133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1EEB8B08-0A9D-60FF-601B-D554D026D3F2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18E1B802-30A1-AA81-416D-8F5CB1AEF7EB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B93E67D-C222-8C8D-294E-FB8955338B75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1030D248-388C-DCA5-B0A8-0AF6CD75F162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93AC1DF-515B-ECD0-E2BC-F9568AF57276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D7CA7D81-E3F6-7E61-029D-2F5CF708E5C1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86A21AEC-4ED7-D63B-3874-10FF563838E9}"/>
              </a:ext>
            </a:extLst>
          </p:cNvPr>
          <p:cNvCxnSpPr>
            <a:cxnSpLocks/>
            <a:stCxn id="45" idx="3"/>
            <a:endCxn id="466" idx="1"/>
          </p:cNvCxnSpPr>
          <p:nvPr/>
        </p:nvCxnSpPr>
        <p:spPr>
          <a:xfrm>
            <a:off x="3553096" y="2618487"/>
            <a:ext cx="638673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54C382A2-A3F3-BCC8-6FD5-B9E0E96E09BB}"/>
              </a:ext>
            </a:extLst>
          </p:cNvPr>
          <p:cNvCxnSpPr>
            <a:cxnSpLocks/>
            <a:endCxn id="498" idx="2"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肘形连接符 463">
            <a:extLst>
              <a:ext uri="{FF2B5EF4-FFF2-40B4-BE49-F238E27FC236}">
                <a16:creationId xmlns:a16="http://schemas.microsoft.com/office/drawing/2014/main" id="{C717C492-9060-3968-5785-4DD892582A7D}"/>
              </a:ext>
            </a:extLst>
          </p:cNvPr>
          <p:cNvCxnSpPr>
            <a:cxnSpLocks/>
            <a:endCxn id="499" idx="2"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67AF6A77-B7B4-EC32-3A95-77CA1AADABF7}"/>
              </a:ext>
            </a:extLst>
          </p:cNvPr>
          <p:cNvSpPr txBox="1"/>
          <p:nvPr/>
        </p:nvSpPr>
        <p:spPr>
          <a:xfrm>
            <a:off x="2430875" y="1186718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</p:spTree>
    <p:extLst>
      <p:ext uri="{BB962C8B-B14F-4D97-AF65-F5344CB8AC3E}">
        <p14:creationId xmlns:p14="http://schemas.microsoft.com/office/powerpoint/2010/main" val="25203342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2C169C3-DF2B-1F97-9F8C-9FD712D7A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E1273386-93BA-6ADF-20AA-CD5D97C364AA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7E05AFF7-ED50-70BD-1B47-85E95748DB1A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D3F7D9F-436E-8A35-28C0-F7E61B04DD7E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8CE8559-DE35-FEDC-6D63-88E8FCB60DB6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89DE47A-3993-1EB5-EF62-18B6FAF0A09C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FFF7FA98-2030-ADCA-98CE-908FD84E8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D8767FAA-316C-7B94-1F8F-C803A658D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2151A826-41A4-1D04-253F-45F73887569E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61DADA00-4A12-4C30-DDF2-B332AC78D776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951B807C-78FB-AEE0-7610-5FFF625BD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507EBD2-0718-C557-C6B4-4A3342F3B55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19F3DED-91E8-1FAB-9F7F-FFC8E2798031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DF551F6-A9E9-BDDF-EBA2-8BB7074A0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FECABDF2-7435-0032-F92B-F9C61CBC5CFD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F00538B8-FE2B-097C-DCAE-7C290DC148B3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537D9E0F-00E7-2547-69D2-928895B60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28E8C0DC-E081-EF00-6431-25818E2C1137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B81880C-CCB1-1F44-6097-CF6106B7AE4A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673A7F84-BC3C-DEA7-5CAE-736A6DDCC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0FD03173-63D9-5EA2-CAD5-646E3C34E1E6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2769D2B1-2AD9-3C58-44C1-9B14C5FB1150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28054533-1BB4-0BFD-A627-FAC1119826C3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372A3C2-9748-3079-8D19-B6E2BB144383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45677B3A-F72B-5006-C2B1-BC747BD93212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E6F0FFA1-81C6-6450-C8DB-D0E15761856D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F188649C-277D-A573-3CD2-0519B5479164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FD94FD63-3EAE-F3D0-1E56-E61053D13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7A47591-C849-D21C-1CAD-8C55BEB6021C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21D3D50E-D4B0-8442-AE16-37492984C1DA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EF27809-8218-7177-F79B-66F6302553FE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AC11055C-75BD-98F4-6108-913AA0A731C0}"/>
              </a:ext>
            </a:extLst>
          </p:cNvPr>
          <p:cNvSpPr/>
          <p:nvPr/>
        </p:nvSpPr>
        <p:spPr>
          <a:xfrm>
            <a:off x="4193288" y="1878617"/>
            <a:ext cx="793375" cy="9650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9ACF0AA-CE67-4CF2-501C-01100B7C564F}"/>
              </a:ext>
            </a:extLst>
          </p:cNvPr>
          <p:cNvSpPr/>
          <p:nvPr/>
        </p:nvSpPr>
        <p:spPr>
          <a:xfrm>
            <a:off x="2753643" y="1878616"/>
            <a:ext cx="796414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7949004D-B5B6-B78A-8A39-6710BC91AAAB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2DC9B8F1-E1B4-F3AF-A91F-B69E9757413D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27D6EBCD-F278-5228-3658-AAF595D5F910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357B0C4A-7361-D4FD-9030-E0AE87AF334B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019E7144-7BD4-DFEC-E1ED-9F86661229F6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E1B14379-4FA0-313B-A6B6-D8C4E43A5736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9FF1C9F1-444E-F2B3-DA23-C91E52B7DC3C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4270943" y="1221288"/>
            <a:ext cx="1033291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620311D7-3B76-FECD-2E79-725079DD06AC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526AB3A8-EB8D-12D2-DB93-632992A990CD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76E4C6D0-1BA0-498D-1DA4-28B7BD1F8085}"/>
              </a:ext>
            </a:extLst>
          </p:cNvPr>
          <p:cNvSpPr/>
          <p:nvPr/>
        </p:nvSpPr>
        <p:spPr>
          <a:xfrm>
            <a:off x="6926060" y="1895169"/>
            <a:ext cx="796413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920239A9-3E44-EA1D-4099-01DA0FCE4A61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D81ACC78-A456-25C3-2A28-D91A127B7DE5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A744FEF2-20CF-A3C0-954D-03C1CC7DEFB8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5B860237-D19F-21F3-A164-29FB4FE1668D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FE4B29C2-B653-6014-7042-DF89AA3EE42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40DC0066-9BBB-B3D8-1AAE-527339E51A99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CDA174B8-20AA-1C1C-3C1C-8D8782922768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D2D0728D-BAB8-3EC4-1066-CCD341A399B1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ECCC14E0-A54B-A3F5-3197-6B2984BF3639}"/>
              </a:ext>
            </a:extLst>
          </p:cNvPr>
          <p:cNvSpPr txBox="1"/>
          <p:nvPr/>
        </p:nvSpPr>
        <p:spPr>
          <a:xfrm>
            <a:off x="627815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DE1688A-D054-33F8-7736-3F95D7616E71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002345EF-B455-484C-E81D-CAF7DC235C9A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09B64D8B-C094-0DCA-3E5D-FD9778E26EE6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B1C69176-44BC-1946-E353-288883A2FBA2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2748BBE7-EC08-0FFB-5DFB-555AB78E2ED1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2A0B94D8-7430-2476-7EA2-CAC5D5852977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24DE19E0-8003-98C8-6605-A12E4B944C5E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F31FA4B9-B0FF-FFBB-A5F2-BD467F5CD8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2E556DD3-0A43-6A4A-5151-342F28D09F6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8B0E2347-1BDC-60C9-1221-865DE0898C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2D583F7A-C414-3958-5E65-549FAF07493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07058BF5-53A3-037D-3CE9-ECAAFA35E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BE4A6B33-C82A-FA06-6D7D-8198B1F750A8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8A0C01E0-E2FD-C511-B7A7-63CFC4EB00D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7FBCC45B-9E90-6893-7FD5-433A77B76A6E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6F447825-D97A-ED18-F5D6-745EC597875A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E5369A9-7856-AFF2-F9FC-CD32257C25DA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07687DF4-F295-C2C2-31D1-C09BF2D9CB45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8F0A5D9E-A02E-C255-02E7-49BD242883D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7471361F-8B42-EEE8-2E65-B4E02019906A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966C0871-622E-CA8E-F8F9-6E3E8F662D85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6DF57E17-7C6F-AE70-B0C8-3B41538E9037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BAAC4FAD-9A5F-AE18-B064-BD23AAF3B318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F978CC0-4DBF-46FE-759F-3F3F0B667592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4" name="直线箭头连接符 463">
            <a:extLst>
              <a:ext uri="{FF2B5EF4-FFF2-40B4-BE49-F238E27FC236}">
                <a16:creationId xmlns:a16="http://schemas.microsoft.com/office/drawing/2014/main" id="{5FBE71CC-5C2F-7519-37CA-34A9C232C92B}"/>
              </a:ext>
            </a:extLst>
          </p:cNvPr>
          <p:cNvCxnSpPr>
            <a:cxnSpLocks/>
            <a:stCxn id="521" idx="3"/>
            <a:endCxn id="534" idx="1"/>
          </p:cNvCxnSpPr>
          <p:nvPr/>
        </p:nvCxnSpPr>
        <p:spPr>
          <a:xfrm>
            <a:off x="7722474" y="2618487"/>
            <a:ext cx="503644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3588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E9DFC5E-84E6-5F23-D297-676E8028A6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3CE372E2-3F54-AD52-2670-0CB5756DA4E3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CFD20075-8A47-91D7-8CC9-17ECF67EABBA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14EE3F5F-24EE-5C06-3840-E44ECE1D04D0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A2F8ADF-0A73-6BD8-E602-7FF60399D024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7E829EBE-41CB-4E3B-021B-BF61429D3197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4692A9B0-CC92-68C2-4D99-08C503693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A4D821BF-8BAE-CA47-93FB-A6A75B768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1D930D71-1DA2-5D2B-3695-607201923A2F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A5964359-794E-5D74-B4F5-082C35727622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F5E6835B-FD5B-5150-FD1E-0642EE9D2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7B2FF25-DB58-CE99-5958-1D7A1E6596E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2BE90853-E923-94CD-7C65-42E5911EACBA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E26B5749-F962-3330-4D3D-552D6EE997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454C7630-263C-158F-BA2F-BD6F59A9B2B3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8AC0D19-8BB8-9E54-7023-3A8CF5683B35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3D515FD3-54AA-993A-6103-1ABEB574AF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772D439-F09D-387B-6291-ED5A075116B2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880E37BA-15C2-DA5F-5988-C97ECBAC5FE7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CA2E5BF-C954-EA93-9EBB-C583E0B5124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6233EC0-9D03-5B93-D21E-20DA27EAE292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645C9EAB-0E94-B74F-40D9-175D131F395E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3E06FFC5-4364-0604-A8AF-64C04DEEC6D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F48281C-C9F4-B5F9-FCA8-B9798C3941E9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EB8A77B3-18B4-FE6C-7832-D9BC932ADDDA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9DF4CD1-B9F8-D4F2-3FF7-EC1980C99EBD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FEC7E770-859E-77C0-F0D4-68999013F8FA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FFC3DCE8-0FD4-67EF-AE20-1EDB83A8D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EEF43377-C10B-797F-2356-2837E506D03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70D6B9F2-315D-5B49-6C0E-49E990EB8CF3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DD3D3829-8E6E-9D6B-8568-E14CE56B7649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C0B6EB18-E114-173A-11F9-15B49DBA8F7E}"/>
              </a:ext>
            </a:extLst>
          </p:cNvPr>
          <p:cNvSpPr/>
          <p:nvPr/>
        </p:nvSpPr>
        <p:spPr>
          <a:xfrm>
            <a:off x="4193288" y="1878617"/>
            <a:ext cx="793375" cy="9650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8AC1C468-DBB5-CFD6-D59C-77700AD91A8F}"/>
              </a:ext>
            </a:extLst>
          </p:cNvPr>
          <p:cNvSpPr/>
          <p:nvPr/>
        </p:nvSpPr>
        <p:spPr>
          <a:xfrm>
            <a:off x="2753643" y="1878616"/>
            <a:ext cx="796414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37069190-021A-4836-F121-91CB20FA06FB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64B993B5-F203-41FC-CBC1-87DAD2A22CC3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7C7BD8E-B0D1-C82F-09E7-333347B5778D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60B67A12-7BC5-D3D4-EC79-01D02666CC2D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1B2AF440-0116-D2CE-F725-7082CD494E7E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767E86E6-6929-1E30-8337-61292A38F374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BAA9D7EA-BA09-5C1C-3435-423B545EF5E5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4270943" y="1221288"/>
            <a:ext cx="1033291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8BECCF64-8E75-5650-C9BF-CF437FCCC4ED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30C940EE-D7A3-6DCB-4102-72C3393EB655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6482B5A3-8D50-D002-BEBE-61E53A3DC459}"/>
              </a:ext>
            </a:extLst>
          </p:cNvPr>
          <p:cNvSpPr/>
          <p:nvPr/>
        </p:nvSpPr>
        <p:spPr>
          <a:xfrm>
            <a:off x="6926060" y="1895169"/>
            <a:ext cx="796413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3A14A661-0542-0256-5078-091138728118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B20DE815-7DEB-8120-286E-CA7AA7B9E77F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79E2E641-985B-333B-DC78-79B4925B6DB9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858C64A3-4E68-F7CF-584A-C0F036CCCBA1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EA0041CA-74B0-F66B-A22B-D318F395A8D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2284AED3-535C-C2D9-D88C-3A1C2CB6470E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4E2105A1-758A-CB8A-727C-476B647D7CD6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6986589D-8203-B19E-8892-119982BFA957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F4C70D63-7B4A-4A30-C314-3DB521CAAA59}"/>
              </a:ext>
            </a:extLst>
          </p:cNvPr>
          <p:cNvSpPr txBox="1"/>
          <p:nvPr/>
        </p:nvSpPr>
        <p:spPr>
          <a:xfrm>
            <a:off x="627815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62A6615-507A-CAF9-03BA-D671280DDA36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F6D66871-B4F6-2200-15A8-60FF0FF63868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EE7E8EAE-323A-0A12-ACCE-E07E34C6222A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44E439E7-B21F-BA6B-3A15-A3FD387C09C7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8BF19E1D-FACA-8C3F-DEF0-2D4A632CD230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72D7C5F9-9631-0E04-1B50-E1568042EB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8A6EB935-3D83-FFFA-28EA-691880DFBA6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89EC0233-82C0-2355-E922-0AA5C6A183F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9D20C12F-843C-5A31-586E-BB2D22BFBB2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5213CD6C-10C8-C002-ED2C-1E901BA0D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6B3FB55B-A202-DDCD-7096-50DE27CE7344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091AE1C7-2E6C-5E1B-CB16-1D4A235FBAE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2B2DCF90-AFA0-5968-A24F-CF6765FFEAB0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D8148B7-A094-85F4-0278-1FD0D3D0E8BD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0ACDC02-BCC9-A22A-57B8-ED83BD512253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0D5F3C25-9268-233A-4F59-0D4E8DBFD21F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3D4940DB-411B-C2F4-03BE-7E23991751CB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78B064CD-C71E-F0F3-7468-D3B1F63AA526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4960678B-C3B2-748A-6C57-E81DC12D0139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C9D4FDA5-8A14-05FF-D300-5D507FC68FC9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65ED4A21-4944-A8F5-FBE3-3E2784CE44AB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76160E1-977E-7A77-12C4-4AC31403D426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肘形连接符 6">
            <a:extLst>
              <a:ext uri="{FF2B5EF4-FFF2-40B4-BE49-F238E27FC236}">
                <a16:creationId xmlns:a16="http://schemas.microsoft.com/office/drawing/2014/main" id="{796CD215-B751-2EE2-DF62-79CB5FD8D23C}"/>
              </a:ext>
            </a:extLst>
          </p:cNvPr>
          <p:cNvCxnSpPr>
            <a:cxnSpLocks/>
            <a:stCxn id="521" idx="3"/>
            <a:endCxn id="535" idx="1"/>
          </p:cNvCxnSpPr>
          <p:nvPr/>
        </p:nvCxnSpPr>
        <p:spPr>
          <a:xfrm>
            <a:off x="7722474" y="2618487"/>
            <a:ext cx="515706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肘形连接符 10">
            <a:extLst>
              <a:ext uri="{FF2B5EF4-FFF2-40B4-BE49-F238E27FC236}">
                <a16:creationId xmlns:a16="http://schemas.microsoft.com/office/drawing/2014/main" id="{3AC95B93-AA38-01FC-8535-7DB2E7760BF2}"/>
              </a:ext>
            </a:extLst>
          </p:cNvPr>
          <p:cNvCxnSpPr>
            <a:cxnSpLocks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3F4ED735-DC12-2216-1C3E-024280B1645F}"/>
              </a:ext>
            </a:extLst>
          </p:cNvPr>
          <p:cNvCxnSpPr>
            <a:cxnSpLocks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肘形连接符 32">
            <a:extLst>
              <a:ext uri="{FF2B5EF4-FFF2-40B4-BE49-F238E27FC236}">
                <a16:creationId xmlns:a16="http://schemas.microsoft.com/office/drawing/2014/main" id="{8FFEB180-993C-A5C3-4FCC-0C9282CA77DB}"/>
              </a:ext>
            </a:extLst>
          </p:cNvPr>
          <p:cNvCxnSpPr>
            <a:cxnSpLocks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肘形连接符 39">
            <a:extLst>
              <a:ext uri="{FF2B5EF4-FFF2-40B4-BE49-F238E27FC236}">
                <a16:creationId xmlns:a16="http://schemas.microsoft.com/office/drawing/2014/main" id="{7864ADB9-1A19-1B7D-C8EF-8E0BB2C1610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6703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0E31629-3084-0D7C-62FF-67282D682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96BAAD04-B4F0-FB99-E37A-DE2115FB46C7}"/>
              </a:ext>
            </a:extLst>
          </p:cNvPr>
          <p:cNvSpPr txBox="1"/>
          <p:nvPr/>
        </p:nvSpPr>
        <p:spPr>
          <a:xfrm>
            <a:off x="1134533" y="533400"/>
            <a:ext cx="5233036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Need TI team to prepare:</a:t>
            </a:r>
            <a:br>
              <a:rPr kumimoji="1" lang="en-US" altLang="zh-SG" b="1" dirty="0"/>
            </a:br>
            <a:br>
              <a:rPr kumimoji="1" lang="en-US" altLang="zh-SG" sz="1200" dirty="0"/>
            </a:br>
            <a:r>
              <a:rPr kumimoji="1" lang="en-US" altLang="zh-SG" sz="1200" dirty="0"/>
              <a:t>1. Create CRD for </a:t>
            </a:r>
            <a:r>
              <a:rPr kumimoji="1" lang="en-US" altLang="zh-SG" sz="1200" dirty="0" err="1"/>
              <a:t>wdp</a:t>
            </a:r>
            <a:r>
              <a:rPr kumimoji="1" lang="en-US" altLang="zh-SG" sz="1200" dirty="0"/>
              <a:t> namespace</a:t>
            </a:r>
            <a:br>
              <a:rPr kumimoji="1" lang="en-US" altLang="zh-SG" sz="1200" dirty="0"/>
            </a:br>
            <a:r>
              <a:rPr kumimoji="1" lang="en-US" altLang="zh-SG" sz="1200" dirty="0"/>
              <a:t>2. Update the </a:t>
            </a:r>
            <a:r>
              <a:rPr lang="en-SG" altLang="zh-SG" sz="1200" dirty="0" err="1"/>
              <a:t>vm.max_map_count</a:t>
            </a:r>
            <a:r>
              <a:rPr lang="en-SG" altLang="zh-SG" sz="1200" dirty="0"/>
              <a:t> </a:t>
            </a:r>
            <a:r>
              <a:rPr kumimoji="1" lang="en-US" altLang="zh-SG" sz="1200" dirty="0"/>
              <a:t>= </a:t>
            </a:r>
            <a:r>
              <a:rPr lang="en-US" altLang="zh-SG" sz="1200" dirty="0"/>
              <a:t>262144</a:t>
            </a:r>
          </a:p>
          <a:p>
            <a:r>
              <a:rPr lang="en-US" altLang="zh-CN" sz="1200" dirty="0"/>
              <a:t>3.</a:t>
            </a:r>
            <a:r>
              <a:rPr lang="zh-CN" altLang="en-US" sz="1200" dirty="0"/>
              <a:t> </a:t>
            </a:r>
            <a:r>
              <a:rPr lang="en-US" altLang="zh-CN" sz="1200" dirty="0"/>
              <a:t>Need grant the Custom Cluster Rule for ZCM and GW-1 service account.</a:t>
            </a:r>
          </a:p>
          <a:p>
            <a:r>
              <a:rPr lang="en-US" altLang="zh-CN" sz="1200" dirty="0"/>
              <a:t>4.</a:t>
            </a:r>
            <a:r>
              <a:rPr lang="zh-CN" altLang="en-US" sz="1200" dirty="0"/>
              <a:t> </a:t>
            </a:r>
            <a:r>
              <a:rPr lang="en-US" altLang="zh-CN" sz="1200" dirty="0"/>
              <a:t>Modify</a:t>
            </a:r>
            <a:r>
              <a:rPr lang="zh-CN" altLang="en-US" sz="1200" dirty="0"/>
              <a:t> </a:t>
            </a:r>
            <a:r>
              <a:rPr lang="en-US" altLang="zh-CN" sz="1200" dirty="0"/>
              <a:t>the request and limit CPU/Memory for namespace.</a:t>
            </a:r>
          </a:p>
          <a:p>
            <a:endParaRPr lang="en-US" altLang="zh-CN" sz="1200" dirty="0"/>
          </a:p>
          <a:p>
            <a:endParaRPr lang="en-US" altLang="zh-SG" sz="1200" dirty="0"/>
          </a:p>
        </p:txBody>
      </p:sp>
    </p:spTree>
    <p:extLst>
      <p:ext uri="{BB962C8B-B14F-4D97-AF65-F5344CB8AC3E}">
        <p14:creationId xmlns:p14="http://schemas.microsoft.com/office/powerpoint/2010/main" val="3627235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D06D3-F3B9-496B-963F-234F46DF8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圆角矩形 291">
            <a:extLst>
              <a:ext uri="{FF2B5EF4-FFF2-40B4-BE49-F238E27FC236}">
                <a16:creationId xmlns:a16="http://schemas.microsoft.com/office/drawing/2014/main" id="{4B3FE3F3-3190-3FC4-FA7B-936F3B8AC435}"/>
              </a:ext>
            </a:extLst>
          </p:cNvPr>
          <p:cNvSpPr/>
          <p:nvPr/>
        </p:nvSpPr>
        <p:spPr>
          <a:xfrm>
            <a:off x="835378" y="1042298"/>
            <a:ext cx="10317535" cy="4966000"/>
          </a:xfrm>
          <a:prstGeom prst="roundRect">
            <a:avLst>
              <a:gd name="adj" fmla="val 2844"/>
            </a:avLst>
          </a:prstGeom>
          <a:noFill/>
          <a:ln w="9525" cap="flat" cmpd="sng" algn="ctr">
            <a:solidFill>
              <a:schemeClr val="tx1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297" name="文本框 296">
            <a:extLst>
              <a:ext uri="{FF2B5EF4-FFF2-40B4-BE49-F238E27FC236}">
                <a16:creationId xmlns:a16="http://schemas.microsoft.com/office/drawing/2014/main" id="{08D1AD6F-4615-D407-C3B0-B0562213F1D7}"/>
              </a:ext>
            </a:extLst>
          </p:cNvPr>
          <p:cNvSpPr txBox="1"/>
          <p:nvPr/>
        </p:nvSpPr>
        <p:spPr>
          <a:xfrm>
            <a:off x="5050681" y="942385"/>
            <a:ext cx="2090637" cy="7817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AGE 2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(T + </a:t>
            </a:r>
            <a:r>
              <a:rPr kumimoji="1" lang="en-US" altLang="zh-CN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5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Months)</a:t>
            </a:r>
            <a:b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T = ZCM Tool Solution Confirm Date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51650DB5-30A9-2487-313D-CC591A3B8A02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Roadmap</a:t>
            </a:r>
          </a:p>
        </p:txBody>
      </p:sp>
      <p:sp>
        <p:nvSpPr>
          <p:cNvPr id="302" name="矩形 301">
            <a:extLst>
              <a:ext uri="{FF2B5EF4-FFF2-40B4-BE49-F238E27FC236}">
                <a16:creationId xmlns:a16="http://schemas.microsoft.com/office/drawing/2014/main" id="{B5CCD3F7-5FFE-8EDF-EE00-29E83192F07B}"/>
              </a:ext>
            </a:extLst>
          </p:cNvPr>
          <p:cNvSpPr/>
          <p:nvPr/>
        </p:nvSpPr>
        <p:spPr>
          <a:xfrm>
            <a:off x="5670189" y="2628160"/>
            <a:ext cx="4127757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3" name="文本框 302">
            <a:extLst>
              <a:ext uri="{FF2B5EF4-FFF2-40B4-BE49-F238E27FC236}">
                <a16:creationId xmlns:a16="http://schemas.microsoft.com/office/drawing/2014/main" id="{59C0D8F6-93AD-C519-498A-099C7E00FD6D}"/>
              </a:ext>
            </a:extLst>
          </p:cNvPr>
          <p:cNvSpPr txBox="1"/>
          <p:nvPr/>
        </p:nvSpPr>
        <p:spPr>
          <a:xfrm>
            <a:off x="7611663" y="2650613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4" name="图形 303">
            <a:extLst>
              <a:ext uri="{FF2B5EF4-FFF2-40B4-BE49-F238E27FC236}">
                <a16:creationId xmlns:a16="http://schemas.microsoft.com/office/drawing/2014/main" id="{E904F3AB-31F6-907E-5D12-43619B32CB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37016" y="2613419"/>
            <a:ext cx="278181" cy="260137"/>
          </a:xfrm>
          <a:prstGeom prst="rect">
            <a:avLst/>
          </a:prstGeom>
        </p:spPr>
      </p:pic>
      <p:sp>
        <p:nvSpPr>
          <p:cNvPr id="305" name="矩形 304">
            <a:extLst>
              <a:ext uri="{FF2B5EF4-FFF2-40B4-BE49-F238E27FC236}">
                <a16:creationId xmlns:a16="http://schemas.microsoft.com/office/drawing/2014/main" id="{E2BCEB71-D872-4AE1-6360-A3FB7E04F90B}"/>
              </a:ext>
            </a:extLst>
          </p:cNvPr>
          <p:cNvSpPr/>
          <p:nvPr/>
        </p:nvSpPr>
        <p:spPr>
          <a:xfrm>
            <a:off x="5764899" y="2908153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685A45F8-3AAB-5ED1-74C9-B98AF3AFB4BD}"/>
              </a:ext>
            </a:extLst>
          </p:cNvPr>
          <p:cNvSpPr txBox="1"/>
          <p:nvPr/>
        </p:nvSpPr>
        <p:spPr>
          <a:xfrm>
            <a:off x="6314856" y="3386483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489596CB-58DB-CC45-A4FD-526855467DC7}"/>
              </a:ext>
            </a:extLst>
          </p:cNvPr>
          <p:cNvSpPr txBox="1"/>
          <p:nvPr/>
        </p:nvSpPr>
        <p:spPr>
          <a:xfrm>
            <a:off x="5902406" y="2919394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8" name="文本框 307">
            <a:extLst>
              <a:ext uri="{FF2B5EF4-FFF2-40B4-BE49-F238E27FC236}">
                <a16:creationId xmlns:a16="http://schemas.microsoft.com/office/drawing/2014/main" id="{B98A26C5-BA62-A397-FA78-F4A16B348149}"/>
              </a:ext>
            </a:extLst>
          </p:cNvPr>
          <p:cNvSpPr txBox="1"/>
          <p:nvPr/>
        </p:nvSpPr>
        <p:spPr>
          <a:xfrm>
            <a:off x="5824543" y="3384811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9" name="文本框 308">
            <a:extLst>
              <a:ext uri="{FF2B5EF4-FFF2-40B4-BE49-F238E27FC236}">
                <a16:creationId xmlns:a16="http://schemas.microsoft.com/office/drawing/2014/main" id="{8693918C-17EA-57CD-6DC7-AF925B202AF8}"/>
              </a:ext>
            </a:extLst>
          </p:cNvPr>
          <p:cNvSpPr txBox="1"/>
          <p:nvPr/>
        </p:nvSpPr>
        <p:spPr>
          <a:xfrm>
            <a:off x="5824543" y="4080139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310" name="文本框 309">
            <a:extLst>
              <a:ext uri="{FF2B5EF4-FFF2-40B4-BE49-F238E27FC236}">
                <a16:creationId xmlns:a16="http://schemas.microsoft.com/office/drawing/2014/main" id="{41575B7B-E562-C8B3-2F0A-4E0475CCC58D}"/>
              </a:ext>
            </a:extLst>
          </p:cNvPr>
          <p:cNvSpPr txBox="1"/>
          <p:nvPr/>
        </p:nvSpPr>
        <p:spPr>
          <a:xfrm>
            <a:off x="6314856" y="4076145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311" name="肘形连接符 310">
            <a:extLst>
              <a:ext uri="{FF2B5EF4-FFF2-40B4-BE49-F238E27FC236}">
                <a16:creationId xmlns:a16="http://schemas.microsoft.com/office/drawing/2014/main" id="{44050461-0096-EFC2-5A59-D8D073C7A881}"/>
              </a:ext>
            </a:extLst>
          </p:cNvPr>
          <p:cNvCxnSpPr>
            <a:cxnSpLocks/>
            <a:stCxn id="309" idx="0"/>
            <a:endCxn id="387" idx="3"/>
          </p:cNvCxnSpPr>
          <p:nvPr/>
        </p:nvCxnSpPr>
        <p:spPr>
          <a:xfrm rot="5400000" flipH="1" flipV="1">
            <a:off x="5941828" y="3642813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9C69F9DD-14F0-8776-B5C7-48A320D8DFC6}"/>
              </a:ext>
            </a:extLst>
          </p:cNvPr>
          <p:cNvCxnSpPr>
            <a:cxnSpLocks/>
            <a:stCxn id="306" idx="1"/>
            <a:endCxn id="308" idx="3"/>
          </p:cNvCxnSpPr>
          <p:nvPr/>
        </p:nvCxnSpPr>
        <p:spPr>
          <a:xfrm flipH="1" flipV="1">
            <a:off x="6040875" y="3491924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直线箭头连接符 312">
            <a:extLst>
              <a:ext uri="{FF2B5EF4-FFF2-40B4-BE49-F238E27FC236}">
                <a16:creationId xmlns:a16="http://schemas.microsoft.com/office/drawing/2014/main" id="{1A75C1CF-4DE2-0DD4-9F83-C8CDF83E35A1}"/>
              </a:ext>
            </a:extLst>
          </p:cNvPr>
          <p:cNvCxnSpPr>
            <a:cxnSpLocks/>
            <a:stCxn id="310" idx="0"/>
            <a:endCxn id="306" idx="2"/>
          </p:cNvCxnSpPr>
          <p:nvPr/>
        </p:nvCxnSpPr>
        <p:spPr>
          <a:xfrm flipV="1">
            <a:off x="6516532" y="3600709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矩形 313">
            <a:extLst>
              <a:ext uri="{FF2B5EF4-FFF2-40B4-BE49-F238E27FC236}">
                <a16:creationId xmlns:a16="http://schemas.microsoft.com/office/drawing/2014/main" id="{F64186EC-DDDE-1388-5F19-0B3C952829DA}"/>
              </a:ext>
            </a:extLst>
          </p:cNvPr>
          <p:cNvSpPr/>
          <p:nvPr/>
        </p:nvSpPr>
        <p:spPr>
          <a:xfrm>
            <a:off x="6946972" y="3596132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15" name="图形 421">
            <a:extLst>
              <a:ext uri="{FF2B5EF4-FFF2-40B4-BE49-F238E27FC236}">
                <a16:creationId xmlns:a16="http://schemas.microsoft.com/office/drawing/2014/main" id="{F86DF6E7-8142-8759-EF88-4B6271D991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0961" y="3611644"/>
            <a:ext cx="144493" cy="126675"/>
          </a:xfrm>
          <a:prstGeom prst="rect">
            <a:avLst/>
          </a:prstGeom>
        </p:spPr>
      </p:pic>
      <p:sp>
        <p:nvSpPr>
          <p:cNvPr id="316" name="文本框 315">
            <a:extLst>
              <a:ext uri="{FF2B5EF4-FFF2-40B4-BE49-F238E27FC236}">
                <a16:creationId xmlns:a16="http://schemas.microsoft.com/office/drawing/2014/main" id="{0D689235-3704-A39E-9068-CD899D33CA1E}"/>
              </a:ext>
            </a:extLst>
          </p:cNvPr>
          <p:cNvSpPr txBox="1"/>
          <p:nvPr/>
        </p:nvSpPr>
        <p:spPr>
          <a:xfrm>
            <a:off x="7076527" y="3572229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7" name="圆角矩形 316">
            <a:extLst>
              <a:ext uri="{FF2B5EF4-FFF2-40B4-BE49-F238E27FC236}">
                <a16:creationId xmlns:a16="http://schemas.microsoft.com/office/drawing/2014/main" id="{975AA938-56F5-AAE0-6C5E-64E5446498E4}"/>
              </a:ext>
            </a:extLst>
          </p:cNvPr>
          <p:cNvSpPr/>
          <p:nvPr/>
        </p:nvSpPr>
        <p:spPr>
          <a:xfrm>
            <a:off x="6998820" y="3926488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8" name="矩形 317">
            <a:extLst>
              <a:ext uri="{FF2B5EF4-FFF2-40B4-BE49-F238E27FC236}">
                <a16:creationId xmlns:a16="http://schemas.microsoft.com/office/drawing/2014/main" id="{897AB2E2-ABC8-B4C5-E49D-B1012BC31E1D}"/>
              </a:ext>
            </a:extLst>
          </p:cNvPr>
          <p:cNvSpPr/>
          <p:nvPr/>
        </p:nvSpPr>
        <p:spPr>
          <a:xfrm>
            <a:off x="6998820" y="4338265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35" name="圆角矩形 334">
            <a:extLst>
              <a:ext uri="{FF2B5EF4-FFF2-40B4-BE49-F238E27FC236}">
                <a16:creationId xmlns:a16="http://schemas.microsoft.com/office/drawing/2014/main" id="{B688EAE7-47C2-248F-FA5B-B960F5714ADB}"/>
              </a:ext>
            </a:extLst>
          </p:cNvPr>
          <p:cNvSpPr/>
          <p:nvPr/>
        </p:nvSpPr>
        <p:spPr>
          <a:xfrm>
            <a:off x="7389710" y="3926488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346" name="肘形连接符 345">
            <a:extLst>
              <a:ext uri="{FF2B5EF4-FFF2-40B4-BE49-F238E27FC236}">
                <a16:creationId xmlns:a16="http://schemas.microsoft.com/office/drawing/2014/main" id="{1C5BF0CE-4969-CA42-3DCE-DCCDE9E3A46A}"/>
              </a:ext>
            </a:extLst>
          </p:cNvPr>
          <p:cNvCxnSpPr>
            <a:cxnSpLocks/>
            <a:stCxn id="317" idx="0"/>
            <a:endCxn id="385" idx="5"/>
          </p:cNvCxnSpPr>
          <p:nvPr/>
        </p:nvCxnSpPr>
        <p:spPr>
          <a:xfrm rot="16200000" flipV="1">
            <a:off x="6722438" y="3492110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椭圆 384">
            <a:extLst>
              <a:ext uri="{FF2B5EF4-FFF2-40B4-BE49-F238E27FC236}">
                <a16:creationId xmlns:a16="http://schemas.microsoft.com/office/drawing/2014/main" id="{9BEA7938-556F-52F2-D0E4-4A099AE1EC16}"/>
              </a:ext>
            </a:extLst>
          </p:cNvPr>
          <p:cNvSpPr/>
          <p:nvPr/>
        </p:nvSpPr>
        <p:spPr>
          <a:xfrm>
            <a:off x="6598768" y="3585051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387" name="椭圆 386">
            <a:extLst>
              <a:ext uri="{FF2B5EF4-FFF2-40B4-BE49-F238E27FC236}">
                <a16:creationId xmlns:a16="http://schemas.microsoft.com/office/drawing/2014/main" id="{4B46872F-96E6-6EAC-E1EC-E794EBEE9C70}"/>
              </a:ext>
            </a:extLst>
          </p:cNvPr>
          <p:cNvSpPr/>
          <p:nvPr/>
        </p:nvSpPr>
        <p:spPr>
          <a:xfrm>
            <a:off x="6376518" y="3581876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388" name="肘形连接符 387">
            <a:extLst>
              <a:ext uri="{FF2B5EF4-FFF2-40B4-BE49-F238E27FC236}">
                <a16:creationId xmlns:a16="http://schemas.microsoft.com/office/drawing/2014/main" id="{7330AE99-13E9-0CEE-E921-1694B0CEE180}"/>
              </a:ext>
            </a:extLst>
          </p:cNvPr>
          <p:cNvCxnSpPr>
            <a:cxnSpLocks/>
            <a:stCxn id="335" idx="0"/>
            <a:endCxn id="385" idx="5"/>
          </p:cNvCxnSpPr>
          <p:nvPr/>
        </p:nvCxnSpPr>
        <p:spPr>
          <a:xfrm rot="16200000" flipV="1">
            <a:off x="6923245" y="3291303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肘形连接符 388">
            <a:extLst>
              <a:ext uri="{FF2B5EF4-FFF2-40B4-BE49-F238E27FC236}">
                <a16:creationId xmlns:a16="http://schemas.microsoft.com/office/drawing/2014/main" id="{1C5540C1-DC99-DB90-1569-50C991A97AA5}"/>
              </a:ext>
            </a:extLst>
          </p:cNvPr>
          <p:cNvCxnSpPr>
            <a:cxnSpLocks/>
            <a:stCxn id="317" idx="2"/>
            <a:endCxn id="318" idx="0"/>
          </p:cNvCxnSpPr>
          <p:nvPr/>
        </p:nvCxnSpPr>
        <p:spPr>
          <a:xfrm rot="16200000" flipH="1">
            <a:off x="7132384" y="4102272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肘形连接符 389">
            <a:extLst>
              <a:ext uri="{FF2B5EF4-FFF2-40B4-BE49-F238E27FC236}">
                <a16:creationId xmlns:a16="http://schemas.microsoft.com/office/drawing/2014/main" id="{9E5C3CB1-87CE-E753-BCF1-D234D257A35C}"/>
              </a:ext>
            </a:extLst>
          </p:cNvPr>
          <p:cNvCxnSpPr>
            <a:cxnSpLocks/>
            <a:stCxn id="335" idx="2"/>
            <a:endCxn id="318" idx="0"/>
          </p:cNvCxnSpPr>
          <p:nvPr/>
        </p:nvCxnSpPr>
        <p:spPr>
          <a:xfrm rot="5400000">
            <a:off x="7333191" y="4113025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矩形 390">
            <a:extLst>
              <a:ext uri="{FF2B5EF4-FFF2-40B4-BE49-F238E27FC236}">
                <a16:creationId xmlns:a16="http://schemas.microsoft.com/office/drawing/2014/main" id="{CEE50263-2622-3A23-D59E-94B298319BB6}"/>
              </a:ext>
            </a:extLst>
          </p:cNvPr>
          <p:cNvSpPr/>
          <p:nvPr/>
        </p:nvSpPr>
        <p:spPr>
          <a:xfrm>
            <a:off x="7909270" y="3596133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92" name="图形 421">
            <a:extLst>
              <a:ext uri="{FF2B5EF4-FFF2-40B4-BE49-F238E27FC236}">
                <a16:creationId xmlns:a16="http://schemas.microsoft.com/office/drawing/2014/main" id="{194AA196-AD3B-7D71-DA90-38C7941F67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23259" y="3611645"/>
            <a:ext cx="144493" cy="126675"/>
          </a:xfrm>
          <a:prstGeom prst="rect">
            <a:avLst/>
          </a:prstGeom>
        </p:spPr>
      </p:pic>
      <p:sp>
        <p:nvSpPr>
          <p:cNvPr id="394" name="圆角矩形 393">
            <a:extLst>
              <a:ext uri="{FF2B5EF4-FFF2-40B4-BE49-F238E27FC236}">
                <a16:creationId xmlns:a16="http://schemas.microsoft.com/office/drawing/2014/main" id="{2BF475B7-F3EF-3374-9DE9-C03F5A2C4D0D}"/>
              </a:ext>
            </a:extLst>
          </p:cNvPr>
          <p:cNvSpPr/>
          <p:nvPr/>
        </p:nvSpPr>
        <p:spPr>
          <a:xfrm>
            <a:off x="7961118" y="3926489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95" name="矩形 394">
            <a:extLst>
              <a:ext uri="{FF2B5EF4-FFF2-40B4-BE49-F238E27FC236}">
                <a16:creationId xmlns:a16="http://schemas.microsoft.com/office/drawing/2014/main" id="{6E8A67CC-27F1-47CE-0935-E7E53585F312}"/>
              </a:ext>
            </a:extLst>
          </p:cNvPr>
          <p:cNvSpPr/>
          <p:nvPr/>
        </p:nvSpPr>
        <p:spPr>
          <a:xfrm>
            <a:off x="7961118" y="4342620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16" name="圆角矩形 415">
            <a:extLst>
              <a:ext uri="{FF2B5EF4-FFF2-40B4-BE49-F238E27FC236}">
                <a16:creationId xmlns:a16="http://schemas.microsoft.com/office/drawing/2014/main" id="{DDE87DA5-91F1-9426-8323-E3E3A486565A}"/>
              </a:ext>
            </a:extLst>
          </p:cNvPr>
          <p:cNvSpPr/>
          <p:nvPr/>
        </p:nvSpPr>
        <p:spPr>
          <a:xfrm>
            <a:off x="8074673" y="43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17" name="圆角矩形 416">
            <a:extLst>
              <a:ext uri="{FF2B5EF4-FFF2-40B4-BE49-F238E27FC236}">
                <a16:creationId xmlns:a16="http://schemas.microsoft.com/office/drawing/2014/main" id="{9EECE844-1047-142A-B1A5-745179CA1740}"/>
              </a:ext>
            </a:extLst>
          </p:cNvPr>
          <p:cNvSpPr/>
          <p:nvPr/>
        </p:nvSpPr>
        <p:spPr>
          <a:xfrm>
            <a:off x="8396790" y="4397109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1" name="圆角矩形 420">
            <a:extLst>
              <a:ext uri="{FF2B5EF4-FFF2-40B4-BE49-F238E27FC236}">
                <a16:creationId xmlns:a16="http://schemas.microsoft.com/office/drawing/2014/main" id="{DB98A8EB-99E9-A318-5170-0BA462B9C1F7}"/>
              </a:ext>
            </a:extLst>
          </p:cNvPr>
          <p:cNvSpPr/>
          <p:nvPr/>
        </p:nvSpPr>
        <p:spPr>
          <a:xfrm>
            <a:off x="8074673" y="459132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2" name="圆角矩形 421">
            <a:extLst>
              <a:ext uri="{FF2B5EF4-FFF2-40B4-BE49-F238E27FC236}">
                <a16:creationId xmlns:a16="http://schemas.microsoft.com/office/drawing/2014/main" id="{429F7585-BC6D-4F27-56C9-530BE22BA1D7}"/>
              </a:ext>
            </a:extLst>
          </p:cNvPr>
          <p:cNvSpPr/>
          <p:nvPr/>
        </p:nvSpPr>
        <p:spPr>
          <a:xfrm>
            <a:off x="8397039" y="4591324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3" name="圆角矩形 422">
            <a:extLst>
              <a:ext uri="{FF2B5EF4-FFF2-40B4-BE49-F238E27FC236}">
                <a16:creationId xmlns:a16="http://schemas.microsoft.com/office/drawing/2014/main" id="{EEF4F000-94EC-9740-94D0-9B7D82391401}"/>
              </a:ext>
            </a:extLst>
          </p:cNvPr>
          <p:cNvSpPr/>
          <p:nvPr/>
        </p:nvSpPr>
        <p:spPr>
          <a:xfrm>
            <a:off x="8352008" y="3926489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24" name="肘形连接符 423">
            <a:extLst>
              <a:ext uri="{FF2B5EF4-FFF2-40B4-BE49-F238E27FC236}">
                <a16:creationId xmlns:a16="http://schemas.microsoft.com/office/drawing/2014/main" id="{957D786C-A52C-D4A2-3F91-A07FB51DEF63}"/>
              </a:ext>
            </a:extLst>
          </p:cNvPr>
          <p:cNvCxnSpPr>
            <a:cxnSpLocks/>
            <a:stCxn id="394" idx="2"/>
            <a:endCxn id="395" idx="0"/>
          </p:cNvCxnSpPr>
          <p:nvPr/>
        </p:nvCxnSpPr>
        <p:spPr>
          <a:xfrm rot="16200000" flipH="1">
            <a:off x="8092505" y="4104450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肘形连接符 424">
            <a:extLst>
              <a:ext uri="{FF2B5EF4-FFF2-40B4-BE49-F238E27FC236}">
                <a16:creationId xmlns:a16="http://schemas.microsoft.com/office/drawing/2014/main" id="{01E86069-6FFC-AFE3-432D-9522F7E33CFB}"/>
              </a:ext>
            </a:extLst>
          </p:cNvPr>
          <p:cNvCxnSpPr>
            <a:cxnSpLocks/>
            <a:stCxn id="423" idx="2"/>
            <a:endCxn id="395" idx="0"/>
          </p:cNvCxnSpPr>
          <p:nvPr/>
        </p:nvCxnSpPr>
        <p:spPr>
          <a:xfrm rot="5400000">
            <a:off x="8293312" y="4115203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6" name="矩形 425">
            <a:extLst>
              <a:ext uri="{FF2B5EF4-FFF2-40B4-BE49-F238E27FC236}">
                <a16:creationId xmlns:a16="http://schemas.microsoft.com/office/drawing/2014/main" id="{A8583B4B-CE00-50DB-D862-233E9E1816AC}"/>
              </a:ext>
            </a:extLst>
          </p:cNvPr>
          <p:cNvSpPr/>
          <p:nvPr/>
        </p:nvSpPr>
        <p:spPr>
          <a:xfrm>
            <a:off x="8875922" y="359178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9" name="圆角矩形 428">
            <a:extLst>
              <a:ext uri="{FF2B5EF4-FFF2-40B4-BE49-F238E27FC236}">
                <a16:creationId xmlns:a16="http://schemas.microsoft.com/office/drawing/2014/main" id="{CFE05C30-C99D-13FA-BFBF-AE6D513A5D2A}"/>
              </a:ext>
            </a:extLst>
          </p:cNvPr>
          <p:cNvSpPr/>
          <p:nvPr/>
        </p:nvSpPr>
        <p:spPr>
          <a:xfrm>
            <a:off x="8927770" y="392213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0" name="矩形 429">
            <a:extLst>
              <a:ext uri="{FF2B5EF4-FFF2-40B4-BE49-F238E27FC236}">
                <a16:creationId xmlns:a16="http://schemas.microsoft.com/office/drawing/2014/main" id="{5B28B0F7-376B-15B0-287B-BAB4ABBA0C69}"/>
              </a:ext>
            </a:extLst>
          </p:cNvPr>
          <p:cNvSpPr/>
          <p:nvPr/>
        </p:nvSpPr>
        <p:spPr>
          <a:xfrm>
            <a:off x="8927770" y="4338267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31" name="圆角矩形 430">
            <a:extLst>
              <a:ext uri="{FF2B5EF4-FFF2-40B4-BE49-F238E27FC236}">
                <a16:creationId xmlns:a16="http://schemas.microsoft.com/office/drawing/2014/main" id="{BE7512B7-F36C-61E4-7150-171FB02D2041}"/>
              </a:ext>
            </a:extLst>
          </p:cNvPr>
          <p:cNvSpPr/>
          <p:nvPr/>
        </p:nvSpPr>
        <p:spPr>
          <a:xfrm>
            <a:off x="9041325" y="4392757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2" name="圆角矩形 431">
            <a:extLst>
              <a:ext uri="{FF2B5EF4-FFF2-40B4-BE49-F238E27FC236}">
                <a16:creationId xmlns:a16="http://schemas.microsoft.com/office/drawing/2014/main" id="{13E0C51A-D9BF-15D8-A807-289F51AF7F2B}"/>
              </a:ext>
            </a:extLst>
          </p:cNvPr>
          <p:cNvSpPr/>
          <p:nvPr/>
        </p:nvSpPr>
        <p:spPr>
          <a:xfrm>
            <a:off x="9363442" y="439275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3" name="圆角矩形 432">
            <a:extLst>
              <a:ext uri="{FF2B5EF4-FFF2-40B4-BE49-F238E27FC236}">
                <a16:creationId xmlns:a16="http://schemas.microsoft.com/office/drawing/2014/main" id="{16EDEFE2-FC01-EE25-564A-C03F75E83038}"/>
              </a:ext>
            </a:extLst>
          </p:cNvPr>
          <p:cNvSpPr/>
          <p:nvPr/>
        </p:nvSpPr>
        <p:spPr>
          <a:xfrm>
            <a:off x="9041325" y="4586972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4" name="圆角矩形 433">
            <a:extLst>
              <a:ext uri="{FF2B5EF4-FFF2-40B4-BE49-F238E27FC236}">
                <a16:creationId xmlns:a16="http://schemas.microsoft.com/office/drawing/2014/main" id="{3396666D-E600-70EC-9F2C-CFA90D89D851}"/>
              </a:ext>
            </a:extLst>
          </p:cNvPr>
          <p:cNvSpPr/>
          <p:nvPr/>
        </p:nvSpPr>
        <p:spPr>
          <a:xfrm>
            <a:off x="9363691" y="4586971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5" name="圆角矩形 434">
            <a:extLst>
              <a:ext uri="{FF2B5EF4-FFF2-40B4-BE49-F238E27FC236}">
                <a16:creationId xmlns:a16="http://schemas.microsoft.com/office/drawing/2014/main" id="{92D3E209-997D-5A64-42BD-A62EED6AE63F}"/>
              </a:ext>
            </a:extLst>
          </p:cNvPr>
          <p:cNvSpPr/>
          <p:nvPr/>
        </p:nvSpPr>
        <p:spPr>
          <a:xfrm>
            <a:off x="9318660" y="392213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36" name="肘形连接符 435">
            <a:extLst>
              <a:ext uri="{FF2B5EF4-FFF2-40B4-BE49-F238E27FC236}">
                <a16:creationId xmlns:a16="http://schemas.microsoft.com/office/drawing/2014/main" id="{9E93617B-CD45-74C2-6D13-39B9D900AF30}"/>
              </a:ext>
            </a:extLst>
          </p:cNvPr>
          <p:cNvCxnSpPr>
            <a:cxnSpLocks/>
            <a:stCxn id="429" idx="2"/>
            <a:endCxn id="430" idx="0"/>
          </p:cNvCxnSpPr>
          <p:nvPr/>
        </p:nvCxnSpPr>
        <p:spPr>
          <a:xfrm rot="16200000" flipH="1">
            <a:off x="9059157" y="4100097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肘形连接符 436">
            <a:extLst>
              <a:ext uri="{FF2B5EF4-FFF2-40B4-BE49-F238E27FC236}">
                <a16:creationId xmlns:a16="http://schemas.microsoft.com/office/drawing/2014/main" id="{A9A967E4-C6B6-6F7D-BB21-C88DA3131DF6}"/>
              </a:ext>
            </a:extLst>
          </p:cNvPr>
          <p:cNvCxnSpPr>
            <a:cxnSpLocks/>
            <a:stCxn id="435" idx="2"/>
            <a:endCxn id="430" idx="0"/>
          </p:cNvCxnSpPr>
          <p:nvPr/>
        </p:nvCxnSpPr>
        <p:spPr>
          <a:xfrm rot="5400000">
            <a:off x="9259964" y="4110850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肘形连接符 437">
            <a:extLst>
              <a:ext uri="{FF2B5EF4-FFF2-40B4-BE49-F238E27FC236}">
                <a16:creationId xmlns:a16="http://schemas.microsoft.com/office/drawing/2014/main" id="{50AD1D17-74CD-CFDB-5C88-799AB7FEA9FC}"/>
              </a:ext>
            </a:extLst>
          </p:cNvPr>
          <p:cNvCxnSpPr>
            <a:cxnSpLocks/>
            <a:stCxn id="423" idx="0"/>
            <a:endCxn id="306" idx="3"/>
          </p:cNvCxnSpPr>
          <p:nvPr/>
        </p:nvCxnSpPr>
        <p:spPr>
          <a:xfrm rot="16200000" flipV="1">
            <a:off x="7403023" y="2808783"/>
            <a:ext cx="432893" cy="1802519"/>
          </a:xfrm>
          <a:prstGeom prst="bentConnector2">
            <a:avLst/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肘形连接符 438">
            <a:extLst>
              <a:ext uri="{FF2B5EF4-FFF2-40B4-BE49-F238E27FC236}">
                <a16:creationId xmlns:a16="http://schemas.microsoft.com/office/drawing/2014/main" id="{BB951165-0BB6-DDF8-49EC-FDF349E0F311}"/>
              </a:ext>
            </a:extLst>
          </p:cNvPr>
          <p:cNvCxnSpPr>
            <a:cxnSpLocks/>
            <a:stCxn id="394" idx="0"/>
            <a:endCxn id="306" idx="3"/>
          </p:cNvCxnSpPr>
          <p:nvPr/>
        </p:nvCxnSpPr>
        <p:spPr>
          <a:xfrm rot="16200000" flipV="1">
            <a:off x="7202216" y="3009590"/>
            <a:ext cx="432893" cy="1400905"/>
          </a:xfrm>
          <a:prstGeom prst="bentConnector2">
            <a:avLst/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肘形连接符 439">
            <a:extLst>
              <a:ext uri="{FF2B5EF4-FFF2-40B4-BE49-F238E27FC236}">
                <a16:creationId xmlns:a16="http://schemas.microsoft.com/office/drawing/2014/main" id="{1F7B2C3C-02F8-BAFE-72D9-807CB51AF7CF}"/>
              </a:ext>
            </a:extLst>
          </p:cNvPr>
          <p:cNvCxnSpPr>
            <a:cxnSpLocks/>
            <a:stCxn id="429" idx="0"/>
            <a:endCxn id="306" idx="0"/>
          </p:cNvCxnSpPr>
          <p:nvPr/>
        </p:nvCxnSpPr>
        <p:spPr>
          <a:xfrm rot="16200000" flipV="1">
            <a:off x="7533324" y="2369693"/>
            <a:ext cx="535653" cy="2569233"/>
          </a:xfrm>
          <a:prstGeom prst="bentConnector3">
            <a:avLst>
              <a:gd name="adj1" fmla="val 119103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肘形连接符 440">
            <a:extLst>
              <a:ext uri="{FF2B5EF4-FFF2-40B4-BE49-F238E27FC236}">
                <a16:creationId xmlns:a16="http://schemas.microsoft.com/office/drawing/2014/main" id="{1297115C-A49A-9380-1D31-96A6FC84AD31}"/>
              </a:ext>
            </a:extLst>
          </p:cNvPr>
          <p:cNvCxnSpPr>
            <a:cxnSpLocks/>
            <a:stCxn id="435" idx="0"/>
            <a:endCxn id="306" idx="0"/>
          </p:cNvCxnSpPr>
          <p:nvPr/>
        </p:nvCxnSpPr>
        <p:spPr>
          <a:xfrm rot="16200000" flipV="1">
            <a:off x="7734131" y="2168886"/>
            <a:ext cx="535653" cy="2970847"/>
          </a:xfrm>
          <a:prstGeom prst="bentConnector3">
            <a:avLst>
              <a:gd name="adj1" fmla="val 121542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圆角矩形 496">
            <a:extLst>
              <a:ext uri="{FF2B5EF4-FFF2-40B4-BE49-F238E27FC236}">
                <a16:creationId xmlns:a16="http://schemas.microsoft.com/office/drawing/2014/main" id="{DA4F9714-2F98-DA11-5BE6-8B864155EC7D}"/>
              </a:ext>
            </a:extLst>
          </p:cNvPr>
          <p:cNvSpPr/>
          <p:nvPr/>
        </p:nvSpPr>
        <p:spPr>
          <a:xfrm>
            <a:off x="7039980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53DD2616-7B01-36FF-7FC2-91C5116741F0}"/>
              </a:ext>
            </a:extLst>
          </p:cNvPr>
          <p:cNvSpPr/>
          <p:nvPr/>
        </p:nvSpPr>
        <p:spPr>
          <a:xfrm>
            <a:off x="7499131" y="4363633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6F468553-CE02-B45D-E5D1-7CF2AFD8BEBF}"/>
              </a:ext>
            </a:extLst>
          </p:cNvPr>
          <p:cNvSpPr/>
          <p:nvPr/>
        </p:nvSpPr>
        <p:spPr>
          <a:xfrm>
            <a:off x="7504192" y="4621957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00" name="圆角矩形 499">
            <a:extLst>
              <a:ext uri="{FF2B5EF4-FFF2-40B4-BE49-F238E27FC236}">
                <a16:creationId xmlns:a16="http://schemas.microsoft.com/office/drawing/2014/main" id="{69B13582-CC33-9A74-EBFD-8AE34A4B3BCE}"/>
              </a:ext>
            </a:extLst>
          </p:cNvPr>
          <p:cNvSpPr/>
          <p:nvPr/>
        </p:nvSpPr>
        <p:spPr>
          <a:xfrm>
            <a:off x="7504192" y="4494823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501" name="曲线连接符 500">
            <a:extLst>
              <a:ext uri="{FF2B5EF4-FFF2-40B4-BE49-F238E27FC236}">
                <a16:creationId xmlns:a16="http://schemas.microsoft.com/office/drawing/2014/main" id="{DCC39EEE-23A5-9E3D-331F-A9630EE74A1E}"/>
              </a:ext>
            </a:extLst>
          </p:cNvPr>
          <p:cNvCxnSpPr>
            <a:cxnSpLocks/>
            <a:stCxn id="499" idx="3"/>
          </p:cNvCxnSpPr>
          <p:nvPr/>
        </p:nvCxnSpPr>
        <p:spPr>
          <a:xfrm flipH="1" flipV="1">
            <a:off x="6685259" y="3599041"/>
            <a:ext cx="1001367" cy="1079542"/>
          </a:xfrm>
          <a:prstGeom prst="curvedConnector4">
            <a:avLst>
              <a:gd name="adj1" fmla="val -22829"/>
              <a:gd name="adj2" fmla="val 52623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曲线连接符 503">
            <a:extLst>
              <a:ext uri="{FF2B5EF4-FFF2-40B4-BE49-F238E27FC236}">
                <a16:creationId xmlns:a16="http://schemas.microsoft.com/office/drawing/2014/main" id="{ED36B91F-1FF2-74DB-B8FB-7CA225E803C8}"/>
              </a:ext>
            </a:extLst>
          </p:cNvPr>
          <p:cNvCxnSpPr>
            <a:cxnSpLocks/>
            <a:endCxn id="395" idx="3"/>
          </p:cNvCxnSpPr>
          <p:nvPr/>
        </p:nvCxnSpPr>
        <p:spPr>
          <a:xfrm>
            <a:off x="6728083" y="3445357"/>
            <a:ext cx="1972147" cy="1109002"/>
          </a:xfrm>
          <a:prstGeom prst="curvedConnector3">
            <a:avLst>
              <a:gd name="adj1" fmla="val 11159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曲线连接符 505">
            <a:extLst>
              <a:ext uri="{FF2B5EF4-FFF2-40B4-BE49-F238E27FC236}">
                <a16:creationId xmlns:a16="http://schemas.microsoft.com/office/drawing/2014/main" id="{2C034BFA-12C9-8CC0-C67E-2245FB4525DE}"/>
              </a:ext>
            </a:extLst>
          </p:cNvPr>
          <p:cNvCxnSpPr>
            <a:cxnSpLocks/>
            <a:endCxn id="430" idx="3"/>
          </p:cNvCxnSpPr>
          <p:nvPr/>
        </p:nvCxnSpPr>
        <p:spPr>
          <a:xfrm>
            <a:off x="6713542" y="3424262"/>
            <a:ext cx="2953340" cy="1125744"/>
          </a:xfrm>
          <a:prstGeom prst="curvedConnector3">
            <a:avLst>
              <a:gd name="adj1" fmla="val 107740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0" name="文本框 529">
            <a:extLst>
              <a:ext uri="{FF2B5EF4-FFF2-40B4-BE49-F238E27FC236}">
                <a16:creationId xmlns:a16="http://schemas.microsoft.com/office/drawing/2014/main" id="{8196BA43-72F8-B58F-74A1-0B76F2BD4935}"/>
              </a:ext>
            </a:extLst>
          </p:cNvPr>
          <p:cNvSpPr txBox="1"/>
          <p:nvPr/>
        </p:nvSpPr>
        <p:spPr>
          <a:xfrm>
            <a:off x="8038825" y="3572229"/>
            <a:ext cx="65072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S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31" name="文本框 530">
            <a:extLst>
              <a:ext uri="{FF2B5EF4-FFF2-40B4-BE49-F238E27FC236}">
                <a16:creationId xmlns:a16="http://schemas.microsoft.com/office/drawing/2014/main" id="{A22CF491-06EC-E429-21FD-495CF83846A3}"/>
              </a:ext>
            </a:extLst>
          </p:cNvPr>
          <p:cNvSpPr txBox="1"/>
          <p:nvPr/>
        </p:nvSpPr>
        <p:spPr>
          <a:xfrm>
            <a:off x="9009831" y="3572229"/>
            <a:ext cx="649352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P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pic>
        <p:nvPicPr>
          <p:cNvPr id="532" name="图形 421">
            <a:extLst>
              <a:ext uri="{FF2B5EF4-FFF2-40B4-BE49-F238E27FC236}">
                <a16:creationId xmlns:a16="http://schemas.microsoft.com/office/drawing/2014/main" id="{57ED35AA-90BD-AA54-ABC4-1DB15E22CD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9911" y="3607292"/>
            <a:ext cx="144493" cy="126675"/>
          </a:xfrm>
          <a:prstGeom prst="rect">
            <a:avLst/>
          </a:prstGeom>
        </p:spPr>
      </p:pic>
      <p:pic>
        <p:nvPicPr>
          <p:cNvPr id="6" name="图片 5" descr="形状&#10;&#10;AI 生成的内容可能不正确。">
            <a:extLst>
              <a:ext uri="{FF2B5EF4-FFF2-40B4-BE49-F238E27FC236}">
                <a16:creationId xmlns:a16="http://schemas.microsoft.com/office/drawing/2014/main" id="{B265F1F6-05E9-12F4-DB79-5119347BAC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9554" y="4595129"/>
            <a:ext cx="152156" cy="15215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A2572B8A-3838-4922-8802-32669DF410BC}"/>
              </a:ext>
            </a:extLst>
          </p:cNvPr>
          <p:cNvSpPr txBox="1"/>
          <p:nvPr/>
        </p:nvSpPr>
        <p:spPr>
          <a:xfrm>
            <a:off x="7170311" y="4568774"/>
            <a:ext cx="33217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Tool(Pod)</a:t>
            </a:r>
            <a:endParaRPr kumimoji="1" lang="en-US" altLang="zh-CN" sz="5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5" name="文本框 494">
            <a:extLst>
              <a:ext uri="{FF2B5EF4-FFF2-40B4-BE49-F238E27FC236}">
                <a16:creationId xmlns:a16="http://schemas.microsoft.com/office/drawing/2014/main" id="{09ED71AB-EF46-2B79-3E22-1C9D99E038D0}"/>
              </a:ext>
            </a:extLst>
          </p:cNvPr>
          <p:cNvSpPr txBox="1"/>
          <p:nvPr/>
        </p:nvSpPr>
        <p:spPr>
          <a:xfrm>
            <a:off x="1756925" y="2707175"/>
            <a:ext cx="3514780" cy="21482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1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Install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via Bamboo Pipeline with Helm mode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zh-SG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2: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forward all the deployment info to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zh-SG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3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&amp;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4: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auto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do the Fusion SaaS &amp; PaaS deployment</a:t>
            </a:r>
            <a:endParaRPr kumimoji="1" lang="en-US" altLang="zh-CN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cxnSp>
        <p:nvCxnSpPr>
          <p:cNvPr id="507" name="曲线连接符 506">
            <a:extLst>
              <a:ext uri="{FF2B5EF4-FFF2-40B4-BE49-F238E27FC236}">
                <a16:creationId xmlns:a16="http://schemas.microsoft.com/office/drawing/2014/main" id="{55F6A3FD-0249-EA6C-2317-3947F6E1EBD6}"/>
              </a:ext>
            </a:extLst>
          </p:cNvPr>
          <p:cNvCxnSpPr>
            <a:cxnSpLocks/>
            <a:stCxn id="6" idx="2"/>
            <a:endCxn id="499" idx="2"/>
          </p:cNvCxnSpPr>
          <p:nvPr/>
        </p:nvCxnSpPr>
        <p:spPr>
          <a:xfrm rot="5400000" flipH="1" flipV="1">
            <a:off x="7354482" y="4506358"/>
            <a:ext cx="12076" cy="469777"/>
          </a:xfrm>
          <a:prstGeom prst="curvedConnector3">
            <a:avLst>
              <a:gd name="adj1" fmla="val -189301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" name="十边形 512">
            <a:extLst>
              <a:ext uri="{FF2B5EF4-FFF2-40B4-BE49-F238E27FC236}">
                <a16:creationId xmlns:a16="http://schemas.microsoft.com/office/drawing/2014/main" id="{6471FF33-96D7-58EE-D47D-F26D260901D0}"/>
              </a:ext>
            </a:extLst>
          </p:cNvPr>
          <p:cNvSpPr/>
          <p:nvPr/>
        </p:nvSpPr>
        <p:spPr>
          <a:xfrm>
            <a:off x="7312202" y="4999785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4" name="十边形 513">
            <a:extLst>
              <a:ext uri="{FF2B5EF4-FFF2-40B4-BE49-F238E27FC236}">
                <a16:creationId xmlns:a16="http://schemas.microsoft.com/office/drawing/2014/main" id="{077AD3D4-6A6E-2C6F-B36C-0BDD67D0C9FF}"/>
              </a:ext>
            </a:extLst>
          </p:cNvPr>
          <p:cNvSpPr/>
          <p:nvPr/>
        </p:nvSpPr>
        <p:spPr>
          <a:xfrm>
            <a:off x="7667721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7" name="十边形 516">
            <a:extLst>
              <a:ext uri="{FF2B5EF4-FFF2-40B4-BE49-F238E27FC236}">
                <a16:creationId xmlns:a16="http://schemas.microsoft.com/office/drawing/2014/main" id="{63F7483D-DE28-B09D-E14C-2B37A8FEC55B}"/>
              </a:ext>
            </a:extLst>
          </p:cNvPr>
          <p:cNvSpPr/>
          <p:nvPr/>
        </p:nvSpPr>
        <p:spPr>
          <a:xfrm>
            <a:off x="8911866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8" name="十边形 517">
            <a:extLst>
              <a:ext uri="{FF2B5EF4-FFF2-40B4-BE49-F238E27FC236}">
                <a16:creationId xmlns:a16="http://schemas.microsoft.com/office/drawing/2014/main" id="{1D300D93-47BC-E1C8-98CE-011D277ABAA5}"/>
              </a:ext>
            </a:extLst>
          </p:cNvPr>
          <p:cNvSpPr/>
          <p:nvPr/>
        </p:nvSpPr>
        <p:spPr>
          <a:xfrm>
            <a:off x="9887015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F914DED-10E0-94DE-6E3D-B9CB2E4951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483" y="1911180"/>
            <a:ext cx="296756" cy="29675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7F027769-86A1-0BC7-4ADF-A3413B267F04}"/>
              </a:ext>
            </a:extLst>
          </p:cNvPr>
          <p:cNvSpPr txBox="1"/>
          <p:nvPr/>
        </p:nvSpPr>
        <p:spPr>
          <a:xfrm>
            <a:off x="5138342" y="2186537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Bamboo Agent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pic>
        <p:nvPicPr>
          <p:cNvPr id="4" name="图形 3" descr="男性形象 纯色填充">
            <a:extLst>
              <a:ext uri="{FF2B5EF4-FFF2-40B4-BE49-F238E27FC236}">
                <a16:creationId xmlns:a16="http://schemas.microsoft.com/office/drawing/2014/main" id="{85130F58-68AE-1003-3640-D509C25D8D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21039" y="1928753"/>
            <a:ext cx="256125" cy="261611"/>
          </a:xfrm>
          <a:prstGeom prst="rect">
            <a:avLst/>
          </a:prstGeom>
        </p:spPr>
      </p:pic>
      <p:cxnSp>
        <p:nvCxnSpPr>
          <p:cNvPr id="5" name="直线箭头连接符 4">
            <a:extLst>
              <a:ext uri="{FF2B5EF4-FFF2-40B4-BE49-F238E27FC236}">
                <a16:creationId xmlns:a16="http://schemas.microsoft.com/office/drawing/2014/main" id="{61E748E5-62D3-C77C-6514-49F62D17FBCD}"/>
              </a:ext>
            </a:extLst>
          </p:cNvPr>
          <p:cNvCxnSpPr>
            <a:cxnSpLocks/>
            <a:stCxn id="4" idx="1"/>
            <a:endCxn id="2" idx="3"/>
          </p:cNvCxnSpPr>
          <p:nvPr/>
        </p:nvCxnSpPr>
        <p:spPr>
          <a:xfrm flipH="1" flipV="1">
            <a:off x="5482239" y="2059558"/>
            <a:ext cx="638800" cy="1"/>
          </a:xfrm>
          <a:prstGeom prst="straightConnector1">
            <a:avLst/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953AD36A-642E-6EA4-A3BA-D4E70CCD4B6A}"/>
              </a:ext>
            </a:extLst>
          </p:cNvPr>
          <p:cNvSpPr txBox="1"/>
          <p:nvPr/>
        </p:nvSpPr>
        <p:spPr>
          <a:xfrm>
            <a:off x="5604382" y="2065578"/>
            <a:ext cx="452121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Execute the pipeline</a:t>
            </a:r>
          </a:p>
        </p:txBody>
      </p:sp>
      <p:cxnSp>
        <p:nvCxnSpPr>
          <p:cNvPr id="11" name="肘形连接符 10">
            <a:extLst>
              <a:ext uri="{FF2B5EF4-FFF2-40B4-BE49-F238E27FC236}">
                <a16:creationId xmlns:a16="http://schemas.microsoft.com/office/drawing/2014/main" id="{F931F033-39D3-1F19-3472-948FCE14CD73}"/>
              </a:ext>
            </a:extLst>
          </p:cNvPr>
          <p:cNvCxnSpPr>
            <a:cxnSpLocks/>
            <a:stCxn id="2" idx="1"/>
          </p:cNvCxnSpPr>
          <p:nvPr/>
        </p:nvCxnSpPr>
        <p:spPr>
          <a:xfrm rot="10800000" flipH="1" flipV="1">
            <a:off x="5185482" y="2059557"/>
            <a:ext cx="1209035" cy="1320161"/>
          </a:xfrm>
          <a:prstGeom prst="bentConnector4">
            <a:avLst>
              <a:gd name="adj1" fmla="val -18908"/>
              <a:gd name="adj2" fmla="val 5562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曲线连接符 15">
            <a:extLst>
              <a:ext uri="{FF2B5EF4-FFF2-40B4-BE49-F238E27FC236}">
                <a16:creationId xmlns:a16="http://schemas.microsoft.com/office/drawing/2014/main" id="{48E89EB2-5C35-867F-75CF-AAC01F029429}"/>
              </a:ext>
            </a:extLst>
          </p:cNvPr>
          <p:cNvCxnSpPr>
            <a:cxnSpLocks/>
            <a:endCxn id="6" idx="1"/>
          </p:cNvCxnSpPr>
          <p:nvPr/>
        </p:nvCxnSpPr>
        <p:spPr>
          <a:xfrm rot="16200000" flipH="1">
            <a:off x="6218824" y="3840477"/>
            <a:ext cx="1056590" cy="604869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十边形 32">
            <a:extLst>
              <a:ext uri="{FF2B5EF4-FFF2-40B4-BE49-F238E27FC236}">
                <a16:creationId xmlns:a16="http://schemas.microsoft.com/office/drawing/2014/main" id="{A2D22C23-7EA2-5CB2-1DC2-4F066F9A14EC}"/>
              </a:ext>
            </a:extLst>
          </p:cNvPr>
          <p:cNvSpPr/>
          <p:nvPr/>
        </p:nvSpPr>
        <p:spPr>
          <a:xfrm>
            <a:off x="6587983" y="4436225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图形 7">
            <a:extLst>
              <a:ext uri="{FF2B5EF4-FFF2-40B4-BE49-F238E27FC236}">
                <a16:creationId xmlns:a16="http://schemas.microsoft.com/office/drawing/2014/main" id="{495E2E35-C184-E448-0437-09683D1293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38414" y="2189253"/>
            <a:ext cx="462375" cy="23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000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595D362-7B24-D1F3-7852-206D93562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7503FF6-D3A3-A7B0-4568-C9D6CA64D5A3}"/>
              </a:ext>
            </a:extLst>
          </p:cNvPr>
          <p:cNvSpPr txBox="1"/>
          <p:nvPr/>
        </p:nvSpPr>
        <p:spPr>
          <a:xfrm>
            <a:off x="1134533" y="533400"/>
            <a:ext cx="228139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SG" sz="1100" dirty="0"/>
              <a:t>-</a:t>
            </a:r>
            <a:r>
              <a:rPr lang="zh-CN" altLang="en-US" sz="1100" dirty="0"/>
              <a:t> </a:t>
            </a:r>
            <a:r>
              <a:rPr lang="zh-SG" altLang="en-US" sz="1100" dirty="0"/>
              <a:t>性能测试</a:t>
            </a:r>
            <a:endParaRPr lang="en-US" altLang="zh-SG" sz="1100" dirty="0"/>
          </a:p>
          <a:p>
            <a:r>
              <a:rPr lang="en-US" altLang="zh-SG" sz="1100" dirty="0">
                <a:solidFill>
                  <a:srgbClr val="00833B"/>
                </a:solidFill>
              </a:rPr>
              <a:t>-</a:t>
            </a:r>
            <a:r>
              <a:rPr lang="zh-CN" altLang="en-US" sz="1100" dirty="0">
                <a:solidFill>
                  <a:srgbClr val="00833B"/>
                </a:solidFill>
              </a:rPr>
              <a:t> </a:t>
            </a:r>
            <a:r>
              <a:rPr lang="en-US" altLang="zh-CN" sz="1100" dirty="0">
                <a:solidFill>
                  <a:srgbClr val="00833B"/>
                </a:solidFill>
              </a:rPr>
              <a:t>ZCM</a:t>
            </a:r>
            <a:r>
              <a:rPr lang="zh-CN" altLang="en-US" sz="1100" dirty="0">
                <a:solidFill>
                  <a:srgbClr val="00833B"/>
                </a:solidFill>
              </a:rPr>
              <a:t>以及中间件的镜像</a:t>
            </a:r>
            <a:r>
              <a:rPr lang="zh-SG" altLang="en-US" sz="1100" dirty="0">
                <a:solidFill>
                  <a:srgbClr val="00833B"/>
                </a:solidFill>
              </a:rPr>
              <a:t>安全扫描</a:t>
            </a:r>
            <a:endParaRPr lang="en-US" altLang="zh-SG" sz="1100" dirty="0">
              <a:solidFill>
                <a:srgbClr val="00833B"/>
              </a:solidFill>
            </a:endParaRPr>
          </a:p>
          <a:p>
            <a:r>
              <a:rPr lang="en-US" altLang="zh-CN" sz="1100" dirty="0"/>
              <a:t>-</a:t>
            </a:r>
            <a:r>
              <a:rPr lang="zh-CN" altLang="en-US" sz="1100" dirty="0"/>
              <a:t> 支持人员安排</a:t>
            </a:r>
            <a:endParaRPr lang="en-US" altLang="zh-SG" sz="1100" dirty="0"/>
          </a:p>
        </p:txBody>
      </p:sp>
    </p:spTree>
    <p:extLst>
      <p:ext uri="{BB962C8B-B14F-4D97-AF65-F5344CB8AC3E}">
        <p14:creationId xmlns:p14="http://schemas.microsoft.com/office/powerpoint/2010/main" val="37732862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2816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AEECF-A471-B632-7CA6-68DFC6907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5544D1D3-94B8-D4C3-A1C1-F83E5170B049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6D8C9CA7-7F13-85A1-18C7-9A126F97AFE5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4B48DB9-BE19-D300-25D0-100E22C37666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F00FB29-4858-EF2C-265F-BD97E9B2D5C5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40240ACE-5BDB-4041-CD88-3E9EBCE9B43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76BFA571-C569-1B54-5DEA-C34298381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F5E440FB-1B97-AE80-BCE9-0345D2A8F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1D8D78E9-E25A-638E-8911-020AC59B0708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38353D48-F002-490D-64BF-082D0ED26BE4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4FBD7AA8-753C-1BA8-6A46-24F3E1BD6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CBBFDB30-80D0-0218-CD66-5DEDEA078AA4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47D8143D-3A53-7E88-72E6-A474E5E6B970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8CA05FD-8D9D-DF4D-93C5-0C718F105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B7ED700A-FEB3-CBBE-FFE9-4506262BA336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06B92AEE-2647-3F8A-D8F5-B7688574291E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DE16912-8612-BC51-872C-25B80C385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B90A492-BC04-0124-02A7-C186DA88E00F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16F8C0D8-2CD4-3F95-19E6-DBB5B58B00E9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0EDBFD56-A886-EA9E-70EB-44614ED57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69BC01CF-5BCE-DE75-BC86-AB2FFC019927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C5D2D7AE-26D8-507C-C1FC-482AFB9C2D6B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BA1273DA-7EA3-81E3-77EE-265B8F29940E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C0AFF1E8-9DDE-A691-E95A-477E136F70FF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411B2EDC-5B9D-290F-2217-174FC5638D2F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50A5EB6F-1C2F-98AA-AC50-A9E6A0F2F3B8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3668BE0-887E-B95D-7B4B-C22BE69C721E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44020141-E8F5-F544-C54B-2E729DE7E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5DA464A0-0D0C-1E80-524C-DCFA608F792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9667F1F2-67BB-5529-A908-BF3D576486FD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8DC74EB-3AF2-056C-61B5-7BF981747483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69724ACE-E9CB-BC37-DF8E-2B33FD19AF91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2C6C4FB-34F3-5B5B-BB58-FDB5CAFDCA99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6C544F0C-76DD-95CD-ECF8-4903A9E5EBD3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7F912808-3BCA-961C-D490-C19C6DB3FAE2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CC1F0EEF-D4CB-5084-9D73-31C8B26C0E8C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B636903-11D6-3D4E-2270-AC0399597558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395F29C5-72DA-7B84-6755-9D34186BF48D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3BCBBB7F-FC33-D61A-BC53-988B324FCBDB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018285" cy="543009"/>
          </a:xfrm>
          <a:prstGeom prst="bentConnector3">
            <a:avLst>
              <a:gd name="adj1" fmla="val 78357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45F882B1-C9F5-1A4F-FC2F-CBF62F3784E6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EF8E35ED-3C41-DA88-FB2E-F465853E27F9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AF0C6E19-50E4-2F1A-22A4-99FB245C9CBC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F9E76E03-CCA2-4393-6C78-7684627C539E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E81F9AF4-C7C7-717A-D3A8-9C7B204FE0ED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BB9F4901-6B69-5174-65D3-78DA58281B2A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C32A65D9-D8F0-20CB-D3CA-42BA203891D0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0B961FA1-C2F2-B072-B04B-D88051E9EEE4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B5876B6E-5752-0E0E-5D9A-4E532BB48349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0DED085F-FD1E-1318-4BAB-8DC113BE2A51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6AC42EC-5B56-6A3F-E5F8-7B4E28ABD9C1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666D2448-3F81-F58C-B340-C9A531D05695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V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F5E66D32-0D7E-F133-A087-8C2CE00B5783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A344C571-4D8A-29A5-5BBD-E840732C2661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634C4A6F-B43F-A3CA-E7E2-36A2E210B1D3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17413429-C572-19E9-B18B-333315F9838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E5F32136-5AF7-E9FD-F498-A4DF1FD8159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DB2FA1A5-2CB5-44CD-735B-E16DF766C69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5015C07A-F12C-BCAD-DD1F-0CF40A572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3EDE070D-B448-6E77-9F40-00E6F2294AAC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5B9DFB5E-B13E-1553-AD23-3F82487112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CEC93777-B6B8-1B8A-3A5A-22B06ABC12DE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B94357C-D3D1-2F8E-7CE2-40D4BA95AF5E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641263D5-7F3C-2777-058D-9A199A56B1C9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1B7E0F20-EBC6-B10F-C0D8-96DD6BBE0E9F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005D64CF-8BB2-5A44-0FE5-35157F652C1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文本框 438">
            <a:extLst>
              <a:ext uri="{FF2B5EF4-FFF2-40B4-BE49-F238E27FC236}">
                <a16:creationId xmlns:a16="http://schemas.microsoft.com/office/drawing/2014/main" id="{B8A8F773-7EDB-35A9-9BF3-EE830A3391CD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CDCB070-CD85-FFFA-861C-BC85EDB14B5E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0" name="圆角矩形 479">
            <a:extLst>
              <a:ext uri="{FF2B5EF4-FFF2-40B4-BE49-F238E27FC236}">
                <a16:creationId xmlns:a16="http://schemas.microsoft.com/office/drawing/2014/main" id="{1C35CF7D-437F-8EDD-4CAA-8AF1F7329EF3}"/>
              </a:ext>
            </a:extLst>
          </p:cNvPr>
          <p:cNvSpPr/>
          <p:nvPr/>
        </p:nvSpPr>
        <p:spPr>
          <a:xfrm>
            <a:off x="8383951" y="1648383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1" name="图形 480">
            <a:extLst>
              <a:ext uri="{FF2B5EF4-FFF2-40B4-BE49-F238E27FC236}">
                <a16:creationId xmlns:a16="http://schemas.microsoft.com/office/drawing/2014/main" id="{B82B40DA-6BDC-8AD5-7CFB-6EF9793C7D1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7809" y="2333310"/>
            <a:ext cx="231466" cy="231466"/>
          </a:xfrm>
          <a:prstGeom prst="rect">
            <a:avLst/>
          </a:prstGeom>
        </p:spPr>
      </p:pic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9761637A-7CA6-2236-8E7D-01843D8DA5A3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83" name="图片 482">
            <a:extLst>
              <a:ext uri="{FF2B5EF4-FFF2-40B4-BE49-F238E27FC236}">
                <a16:creationId xmlns:a16="http://schemas.microsoft.com/office/drawing/2014/main" id="{FFDF25E8-7B7B-6BE0-8213-A3B447A1469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9835" y="2333310"/>
            <a:ext cx="227457" cy="227457"/>
          </a:xfrm>
          <a:prstGeom prst="rect">
            <a:avLst/>
          </a:prstGeom>
        </p:spPr>
      </p:pic>
      <p:sp>
        <p:nvSpPr>
          <p:cNvPr id="489" name="圆角矩形 488">
            <a:extLst>
              <a:ext uri="{FF2B5EF4-FFF2-40B4-BE49-F238E27FC236}">
                <a16:creationId xmlns:a16="http://schemas.microsoft.com/office/drawing/2014/main" id="{E72D07E9-87DB-6583-470C-016B5FCB5FA4}"/>
              </a:ext>
            </a:extLst>
          </p:cNvPr>
          <p:cNvSpPr/>
          <p:nvPr/>
        </p:nvSpPr>
        <p:spPr>
          <a:xfrm>
            <a:off x="7122234" y="164838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1B123C29-3879-E4D9-CFBA-66C206489F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3AC52602-4D82-C0F9-76FF-F46511764A57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2" name="图片 491">
            <a:extLst>
              <a:ext uri="{FF2B5EF4-FFF2-40B4-BE49-F238E27FC236}">
                <a16:creationId xmlns:a16="http://schemas.microsoft.com/office/drawing/2014/main" id="{2672D547-EF0B-A854-2FCE-25A3FC618FC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42906" y="2333310"/>
            <a:ext cx="257166" cy="257166"/>
          </a:xfrm>
          <a:prstGeom prst="rect">
            <a:avLst/>
          </a:prstGeom>
        </p:spPr>
      </p:pic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0AD8A3C5-748D-BB00-12A4-DFD60290CB0A}"/>
              </a:ext>
            </a:extLst>
          </p:cNvPr>
          <p:cNvCxnSpPr>
            <a:cxnSpLocks/>
            <a:stCxn id="521" idx="0"/>
            <a:endCxn id="489" idx="1"/>
          </p:cNvCxnSpPr>
          <p:nvPr/>
        </p:nvCxnSpPr>
        <p:spPr>
          <a:xfrm rot="5400000" flipH="1" flipV="1">
            <a:off x="6250725" y="1604618"/>
            <a:ext cx="685382" cy="1057635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" name="圆角矩形 500">
            <a:extLst>
              <a:ext uri="{FF2B5EF4-FFF2-40B4-BE49-F238E27FC236}">
                <a16:creationId xmlns:a16="http://schemas.microsoft.com/office/drawing/2014/main" id="{F02C52F0-A01D-2B97-D6A9-3C5704020925}"/>
              </a:ext>
            </a:extLst>
          </p:cNvPr>
          <p:cNvSpPr/>
          <p:nvPr/>
        </p:nvSpPr>
        <p:spPr>
          <a:xfrm>
            <a:off x="7426062" y="2333310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870394B5-9909-0E89-8647-75439BEC4F55}"/>
              </a:ext>
            </a:extLst>
          </p:cNvPr>
          <p:cNvSpPr/>
          <p:nvPr/>
        </p:nvSpPr>
        <p:spPr>
          <a:xfrm>
            <a:off x="7667505" y="2333310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7" name="肘形连接符 506">
            <a:extLst>
              <a:ext uri="{FF2B5EF4-FFF2-40B4-BE49-F238E27FC236}">
                <a16:creationId xmlns:a16="http://schemas.microsoft.com/office/drawing/2014/main" id="{DE7F0F73-E325-B38E-12DE-01BE236BE70F}"/>
              </a:ext>
            </a:extLst>
          </p:cNvPr>
          <p:cNvCxnSpPr>
            <a:cxnSpLocks/>
            <a:stCxn id="489" idx="2"/>
            <a:endCxn id="490" idx="0"/>
          </p:cNvCxnSpPr>
          <p:nvPr/>
        </p:nvCxnSpPr>
        <p:spPr>
          <a:xfrm rot="5400000">
            <a:off x="6895081" y="1899109"/>
            <a:ext cx="400206" cy="468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肘形连接符 509">
            <a:extLst>
              <a:ext uri="{FF2B5EF4-FFF2-40B4-BE49-F238E27FC236}">
                <a16:creationId xmlns:a16="http://schemas.microsoft.com/office/drawing/2014/main" id="{5076CE3E-F911-0F57-4870-7CC2FC8B5E23}"/>
              </a:ext>
            </a:extLst>
          </p:cNvPr>
          <p:cNvCxnSpPr>
            <a:cxnSpLocks/>
            <a:stCxn id="489" idx="2"/>
            <a:endCxn id="492" idx="0"/>
          </p:cNvCxnSpPr>
          <p:nvPr/>
        </p:nvCxnSpPr>
        <p:spPr>
          <a:xfrm rot="5400000">
            <a:off x="7050283" y="2054311"/>
            <a:ext cx="400206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肘形连接符 512">
            <a:extLst>
              <a:ext uri="{FF2B5EF4-FFF2-40B4-BE49-F238E27FC236}">
                <a16:creationId xmlns:a16="http://schemas.microsoft.com/office/drawing/2014/main" id="{7D831472-872E-EF84-8DBF-3CD52A24B2FC}"/>
              </a:ext>
            </a:extLst>
          </p:cNvPr>
          <p:cNvCxnSpPr>
            <a:cxnSpLocks/>
            <a:stCxn id="489" idx="2"/>
            <a:endCxn id="501" idx="0"/>
          </p:cNvCxnSpPr>
          <p:nvPr/>
        </p:nvCxnSpPr>
        <p:spPr>
          <a:xfrm rot="16200000" flipH="1">
            <a:off x="7218565" y="2043821"/>
            <a:ext cx="400206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肘形连接符 516">
            <a:extLst>
              <a:ext uri="{FF2B5EF4-FFF2-40B4-BE49-F238E27FC236}">
                <a16:creationId xmlns:a16="http://schemas.microsoft.com/office/drawing/2014/main" id="{A124A4B3-F979-F876-A57E-5B2265D3CABC}"/>
              </a:ext>
            </a:extLst>
          </p:cNvPr>
          <p:cNvCxnSpPr>
            <a:cxnSpLocks/>
            <a:stCxn id="489" idx="2"/>
            <a:endCxn id="503" idx="0"/>
          </p:cNvCxnSpPr>
          <p:nvPr/>
        </p:nvCxnSpPr>
        <p:spPr>
          <a:xfrm rot="16200000" flipH="1">
            <a:off x="7361476" y="1900910"/>
            <a:ext cx="400206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肘形连接符 522">
            <a:extLst>
              <a:ext uri="{FF2B5EF4-FFF2-40B4-BE49-F238E27FC236}">
                <a16:creationId xmlns:a16="http://schemas.microsoft.com/office/drawing/2014/main" id="{776A03BC-BA69-FCCB-51FB-014A844AA4B2}"/>
              </a:ext>
            </a:extLst>
          </p:cNvPr>
          <p:cNvCxnSpPr>
            <a:cxnSpLocks/>
            <a:stCxn id="480" idx="2"/>
            <a:endCxn id="483" idx="0"/>
          </p:cNvCxnSpPr>
          <p:nvPr/>
        </p:nvCxnSpPr>
        <p:spPr>
          <a:xfrm rot="16200000" flipH="1">
            <a:off x="8456878" y="2046624"/>
            <a:ext cx="400206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肘形连接符 525">
            <a:extLst>
              <a:ext uri="{FF2B5EF4-FFF2-40B4-BE49-F238E27FC236}">
                <a16:creationId xmlns:a16="http://schemas.microsoft.com/office/drawing/2014/main" id="{80B236FB-895A-EA6B-3AB6-D6FE6D9657ED}"/>
              </a:ext>
            </a:extLst>
          </p:cNvPr>
          <p:cNvCxnSpPr>
            <a:cxnSpLocks/>
            <a:stCxn id="480" idx="2"/>
            <a:endCxn id="481" idx="0"/>
          </p:cNvCxnSpPr>
          <p:nvPr/>
        </p:nvCxnSpPr>
        <p:spPr>
          <a:xfrm rot="5400000">
            <a:off x="8286867" y="2049779"/>
            <a:ext cx="400206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A38DEF53-E1D4-2595-8566-B71437AE3B99}"/>
              </a:ext>
            </a:extLst>
          </p:cNvPr>
          <p:cNvSpPr/>
          <p:nvPr/>
        </p:nvSpPr>
        <p:spPr>
          <a:xfrm>
            <a:off x="6603887" y="4337042"/>
            <a:ext cx="2546377" cy="2299253"/>
          </a:xfrm>
          <a:prstGeom prst="roundRect">
            <a:avLst>
              <a:gd name="adj" fmla="val 4562"/>
            </a:avLst>
          </a:prstGeom>
          <a:solidFill>
            <a:srgbClr val="C7D6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39AFB521-84E3-1AD8-8199-8B68AF371BCB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ing</a:t>
            </a:r>
            <a:r>
              <a:rPr kumimoji="1"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C5BB08E1-FC69-3237-F19D-001114DF05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11EBAE1F-AACE-E43C-BB39-BFAC86769DEE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C3B892BE-3F73-DE63-5937-32236B1C6970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D2EC4960-6B9E-866D-1512-35D8EF108CEA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DE62E50D-0CF2-492C-2B1A-935B9D5A368A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555139ED-8B26-E596-2808-8B5FF12064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33A7413F-9FE9-5DB4-EAA5-10690B3EF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B015079A-1294-36EC-34F0-D2D35BE38C6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B20AD731-0227-3DB6-6B08-F4C8A2494156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159F22EF-6F4E-03BD-896D-20103D5BD134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4C2A247E-5813-963A-9F6B-F82638AA7A83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AF963E23-0294-7B29-3F21-71E0452B475A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22069A4F-9F32-CC58-A9E6-33D83F1F0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8B197DBD-FC06-5F2C-8358-36EF3770E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353E8063-6C92-294C-CF5B-41651162736A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C254EE8B-19DB-8A51-5687-FA988C1F0F73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3E489BF3-1005-26C1-DC20-1B7810E3CC95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DB827F28-20B8-CA69-3947-6067FA814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E9DAC240-93DD-A22C-D0BD-05AC731C2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B253A867-335E-780A-A7AB-609A3D1D5EE9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572E6CE0-29DF-FF5D-B29A-F6148B77ECD4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DBDF454F-D2E3-4F4D-2916-BBBFABE1DE5A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1EF5B352-B55B-732F-1117-F550616F22C8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1C5BDB45-FD42-FC34-B18F-70CBAAC1B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CCB7F29C-9361-9F65-624E-90029FFB2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ABECF36D-429D-0E82-C84E-60C89E628C64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CFE7584B-AA9E-E510-0B53-E8EB114C5DBA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EA83C69C-CE2F-0341-2CFE-CCC93BF77040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97DBB8CD-E384-B9D6-EBA2-A56D651790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3FEFEE90-7016-249D-0E50-D9CE62F49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3828A5EA-062F-0887-BF27-40F27E952015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5E821137-F643-A01C-550A-2A36352415DF}"/>
              </a:ext>
            </a:extLst>
          </p:cNvPr>
          <p:cNvCxnSpPr>
            <a:cxnSpLocks/>
            <a:stCxn id="574" idx="3"/>
            <a:endCxn id="480" idx="0"/>
          </p:cNvCxnSpPr>
          <p:nvPr/>
        </p:nvCxnSpPr>
        <p:spPr>
          <a:xfrm rot="16200000" flipV="1">
            <a:off x="9151961" y="1066821"/>
            <a:ext cx="165509" cy="1328633"/>
          </a:xfrm>
          <a:prstGeom prst="bentConnector3">
            <a:avLst>
              <a:gd name="adj1" fmla="val 23811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FCC98C08-9155-9A90-D744-46379C29A9C1}"/>
              </a:ext>
            </a:extLst>
          </p:cNvPr>
          <p:cNvCxnSpPr>
            <a:cxnSpLocks/>
            <a:stCxn id="574" idx="3"/>
            <a:endCxn id="489" idx="0"/>
          </p:cNvCxnSpPr>
          <p:nvPr/>
        </p:nvCxnSpPr>
        <p:spPr>
          <a:xfrm rot="16200000" flipV="1">
            <a:off x="8531403" y="446263"/>
            <a:ext cx="165509" cy="2569749"/>
          </a:xfrm>
          <a:prstGeom prst="bentConnector3">
            <a:avLst>
              <a:gd name="adj1" fmla="val 23811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63FE0307-CE25-AAC1-360B-A35530C6C0E3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63DF9903-E17F-86E7-2B7C-30F6B650E672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DD380745-18F6-235C-D3AA-6B66B16E431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66505881-0F94-5E6E-93D7-94B3BC23039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DEB3B6A3-3BC4-56B5-1077-FC2DA3EFDC48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2325F56D-4D12-6A0B-3A5F-8F38D8B6A652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E09DF3FD-CCC2-C9F3-7EBA-65AB78147AD8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6686956C-B3C3-73D5-3F41-981DCF464C8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D4225F3F-6EAB-B0F1-CAC6-0EFB02DFC2AD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943B64FF-7783-33EF-1AF9-DE471BBE1F44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6D110271-2E07-08C0-05E3-93CD2554B51A}"/>
              </a:ext>
            </a:extLst>
          </p:cNvPr>
          <p:cNvCxnSpPr>
            <a:cxnSpLocks/>
            <a:stCxn id="10" idx="2"/>
            <a:endCxn id="549" idx="0"/>
          </p:cNvCxnSpPr>
          <p:nvPr/>
        </p:nvCxnSpPr>
        <p:spPr>
          <a:xfrm rot="16200000" flipH="1">
            <a:off x="6853740" y="5503416"/>
            <a:ext cx="476722" cy="46203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3AA94D77-05CA-EC76-C1E8-814547162CC7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6C3A4BB9-B528-68BF-4EA2-3B35342732D0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0982AA36-4E6F-9E41-C608-9A931FCE5D7A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D6509737-29E2-22A1-935B-D65A9E51E4D5}"/>
              </a:ext>
            </a:extLst>
          </p:cNvPr>
          <p:cNvCxnSpPr>
            <a:cxnSpLocks/>
            <a:stCxn id="489" idx="1"/>
            <a:endCxn id="498" idx="3"/>
          </p:cNvCxnSpPr>
          <p:nvPr/>
        </p:nvCxnSpPr>
        <p:spPr>
          <a:xfrm rot="10800000" flipV="1">
            <a:off x="5911388" y="1790743"/>
            <a:ext cx="1210847" cy="180559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0A250417-1203-5DFF-EBC5-B0106468499B}"/>
              </a:ext>
            </a:extLst>
          </p:cNvPr>
          <p:cNvCxnSpPr>
            <a:cxnSpLocks/>
            <a:stCxn id="499" idx="3"/>
            <a:endCxn id="489" idx="1"/>
          </p:cNvCxnSpPr>
          <p:nvPr/>
        </p:nvCxnSpPr>
        <p:spPr>
          <a:xfrm flipV="1">
            <a:off x="5904591" y="1790744"/>
            <a:ext cx="1217643" cy="212141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F83A1D86-6D30-BA04-9F02-B01610E50D33}"/>
              </a:ext>
            </a:extLst>
          </p:cNvPr>
          <p:cNvSpPr txBox="1"/>
          <p:nvPr/>
        </p:nvSpPr>
        <p:spPr>
          <a:xfrm>
            <a:off x="7352377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4CC0315A-8DEF-E4DF-9E38-6DEB79927B65}"/>
              </a:ext>
            </a:extLst>
          </p:cNvPr>
          <p:cNvSpPr txBox="1"/>
          <p:nvPr/>
        </p:nvSpPr>
        <p:spPr>
          <a:xfrm>
            <a:off x="7647281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图形 9">
            <a:extLst>
              <a:ext uri="{FF2B5EF4-FFF2-40B4-BE49-F238E27FC236}">
                <a16:creationId xmlns:a16="http://schemas.microsoft.com/office/drawing/2014/main" id="{926F137A-1748-A52B-994B-901688DAC6D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5238906"/>
            <a:ext cx="257165" cy="257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372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170B2-5113-D43D-FB3A-E5E49FAE5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7442C439-10E9-CB73-39A9-9E231BA558C8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C1FED765-57C5-D6D8-E262-CBE0FD36881D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C46986B3-007A-5248-F520-C656B6490EC2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During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7F05607-F992-6A96-E786-2FDDDB7103C7}"/>
              </a:ext>
            </a:extLst>
          </p:cNvPr>
          <p:cNvSpPr/>
          <p:nvPr/>
        </p:nvSpPr>
        <p:spPr>
          <a:xfrm rot="16200000">
            <a:off x="-281915" y="1423458"/>
            <a:ext cx="219572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F4EFED9-791D-1315-E7C7-F7C9754DABC4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50DA21DE-E875-19F7-37AB-927EC744C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132BCF36-D04E-2946-8E4A-81A11C771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BE32E346-27F6-D909-A77F-DB004BB6FD59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287A60A-E060-001C-BD48-2266C9E9E542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E252F3BC-577C-0B6D-CDBD-F7383DA78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A804642-CEF1-31D3-8B39-1ED15BF245CB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FCAE74C9-02DF-2915-81C7-1DBEE1359A2F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7D4847E7-FEAE-1418-F958-B6735686D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79355D68-7398-24F6-949B-B68E66C65634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F16BC02A-132A-441A-313E-2ECD8A8AF938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8898974F-ACB6-86B4-BEFB-BF62ADEB7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D65FEB84-D98A-FE49-69D2-C8E87943E078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CDCB3551-C370-14B9-E3FC-3970B386C86F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2A51B047-85EB-B5B5-7943-C4CB3A3DE70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DF56DDFC-A880-D3FC-1546-7F09373FDD7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0D7F5B76-DEEC-399E-4EB1-A5500E1BCCEA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AC34C07F-B83E-D089-664F-3E76E0770ADC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7410185-9C61-0F5F-9E7B-98C0B48E0C46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DC278744-A382-02B3-0C64-88E9460E0817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8475E026-3A26-AB92-2CDA-CF698A9027C4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4073A375-9588-54C8-47D3-418335C30F24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0B65B7FC-E637-7F93-BD8D-ED6555680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6E9A4DA-2B42-3883-3814-D4AAE8BCFB8C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D4F72CEB-91C0-3052-9380-37783E412C64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955E43A-2BA9-182D-677E-B84CC2CF6C47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5409EA01-3F72-A50F-C6E1-907F0BFBE371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1CF0C354-52B2-C155-580A-86527EA749C7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010A713D-51D4-AE0E-ACBE-C9C7739DFD9A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6C4A16CE-5A96-C71F-5C51-F573D90F3CA8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8B4B44D8-BF6E-E2E9-C25F-154BD2D09B1D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633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68F9A1C0-37A8-DDD4-F0D7-21D9BB1E8430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1E53C95A-1B75-5C56-64AB-9DFDDEFF533E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203CAC93-DFDA-FB0C-F161-79A6746CB7A3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84652"/>
            <a:ext cx="1018285" cy="533835"/>
          </a:xfrm>
          <a:prstGeom prst="bentConnector3">
            <a:avLst>
              <a:gd name="adj1" fmla="val 78201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6B36828B-6CA8-1BE3-0F11-A06C4FF8FC5A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2D8C9EFE-08F1-82EC-3BFB-C2679C9C3E2F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458E2F59-657D-F209-39A0-9C5FB36F4303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2ABEE0C5-3F55-2F3E-0629-589115141B70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8BC43585-B0D4-33B6-4F60-CDCE3C69756B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9D8C5BA9-16B4-ABFE-743C-C4C71489CF0A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031510AD-0A4A-BFA7-F649-C6E3F0E03A2B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A20FBEB3-4367-7266-797D-9E5B943BD665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CC444354-CAFC-CBF0-ED2A-920EE6BD7E5D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7E6D7E36-A077-BE27-3AF6-BFC65E4EC379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5660645-5950-49A1-820F-9F93FDA72212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7E50B3EF-1ACB-5EEA-D8A2-4A04B0404931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761C04A8-FF5E-FD9C-6364-3FE4D2963A92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E039F6C1-E633-63C0-CBA7-ECE733AFAE22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22D324EC-09BE-0F8F-313E-6A2C3CAFF890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F72BDBAB-6919-DA07-22F6-0D8217B0FE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97411C74-D34F-BBA4-0554-09FCD6EAF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E5A4F4AC-ABB3-0341-F2F6-4C96E7C6DF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65A1F5A1-E811-89A0-01BB-9B551354C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2E9A1348-8346-E53F-C912-71D154EFF7CC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97374135-8409-FB65-620C-53DB2C75DE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9AF21ACA-7EEC-A4C7-6406-C56EF7E87609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59782681-541E-8AFB-0763-38CB54F50E2C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E2C00EED-D4AC-53D3-ECE1-F767AF65D87A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878342E3-4ECA-07C7-F2A8-56B255BE445C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0" name="圆角矩形 479">
            <a:extLst>
              <a:ext uri="{FF2B5EF4-FFF2-40B4-BE49-F238E27FC236}">
                <a16:creationId xmlns:a16="http://schemas.microsoft.com/office/drawing/2014/main" id="{6CDF4C88-518F-170D-67DA-92E7B5982EF1}"/>
              </a:ext>
            </a:extLst>
          </p:cNvPr>
          <p:cNvSpPr/>
          <p:nvPr/>
        </p:nvSpPr>
        <p:spPr>
          <a:xfrm>
            <a:off x="8383951" y="1648383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1" name="图形 480">
            <a:extLst>
              <a:ext uri="{FF2B5EF4-FFF2-40B4-BE49-F238E27FC236}">
                <a16:creationId xmlns:a16="http://schemas.microsoft.com/office/drawing/2014/main" id="{0ECBE7AE-7D2E-D0AA-6B81-A18AE19C89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7809" y="2333310"/>
            <a:ext cx="231466" cy="231466"/>
          </a:xfrm>
          <a:prstGeom prst="rect">
            <a:avLst/>
          </a:prstGeom>
        </p:spPr>
      </p:pic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53FFC7DA-5380-51C1-E8A5-AC15BF86379F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83" name="图片 482">
            <a:extLst>
              <a:ext uri="{FF2B5EF4-FFF2-40B4-BE49-F238E27FC236}">
                <a16:creationId xmlns:a16="http://schemas.microsoft.com/office/drawing/2014/main" id="{3267B098-476D-F9DD-3128-154CCE7DD62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9835" y="2333310"/>
            <a:ext cx="227457" cy="227457"/>
          </a:xfrm>
          <a:prstGeom prst="rect">
            <a:avLst/>
          </a:prstGeom>
        </p:spPr>
      </p:pic>
      <p:sp>
        <p:nvSpPr>
          <p:cNvPr id="489" name="圆角矩形 488">
            <a:extLst>
              <a:ext uri="{FF2B5EF4-FFF2-40B4-BE49-F238E27FC236}">
                <a16:creationId xmlns:a16="http://schemas.microsoft.com/office/drawing/2014/main" id="{731231EB-872B-762E-117C-AFAC6AC5AA45}"/>
              </a:ext>
            </a:extLst>
          </p:cNvPr>
          <p:cNvSpPr/>
          <p:nvPr/>
        </p:nvSpPr>
        <p:spPr>
          <a:xfrm>
            <a:off x="7122234" y="164838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355E96D9-5BC6-A2DA-ABF0-1C559BD0520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4592F0BE-294A-554F-0BD9-B0A88B78F70C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2" name="图片 491">
            <a:extLst>
              <a:ext uri="{FF2B5EF4-FFF2-40B4-BE49-F238E27FC236}">
                <a16:creationId xmlns:a16="http://schemas.microsoft.com/office/drawing/2014/main" id="{C4400C61-656D-B7BF-E9A5-6FECCFCBF97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42906" y="2333310"/>
            <a:ext cx="257166" cy="257166"/>
          </a:xfrm>
          <a:prstGeom prst="rect">
            <a:avLst/>
          </a:prstGeom>
        </p:spPr>
      </p:pic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09B0A993-1365-789E-3EE8-DAE44C47EC46}"/>
              </a:ext>
            </a:extLst>
          </p:cNvPr>
          <p:cNvCxnSpPr>
            <a:cxnSpLocks/>
            <a:stCxn id="521" idx="0"/>
            <a:endCxn id="549" idx="1"/>
          </p:cNvCxnSpPr>
          <p:nvPr/>
        </p:nvCxnSpPr>
        <p:spPr>
          <a:xfrm rot="16200000" flipH="1">
            <a:off x="4770820" y="3769905"/>
            <a:ext cx="3639028" cy="1051470"/>
          </a:xfrm>
          <a:prstGeom prst="bentConnector4">
            <a:avLst>
              <a:gd name="adj1" fmla="val -5036"/>
              <a:gd name="adj2" fmla="val 42565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" name="圆角矩形 500">
            <a:extLst>
              <a:ext uri="{FF2B5EF4-FFF2-40B4-BE49-F238E27FC236}">
                <a16:creationId xmlns:a16="http://schemas.microsoft.com/office/drawing/2014/main" id="{0CD25E99-C5E8-7C0D-4FE5-847084AC56FE}"/>
              </a:ext>
            </a:extLst>
          </p:cNvPr>
          <p:cNvSpPr/>
          <p:nvPr/>
        </p:nvSpPr>
        <p:spPr>
          <a:xfrm>
            <a:off x="7426062" y="2333310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FBCE6E5D-B96E-E708-1276-F57B1B8FB960}"/>
              </a:ext>
            </a:extLst>
          </p:cNvPr>
          <p:cNvSpPr/>
          <p:nvPr/>
        </p:nvSpPr>
        <p:spPr>
          <a:xfrm>
            <a:off x="7667505" y="2333310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7" name="肘形连接符 506">
            <a:extLst>
              <a:ext uri="{FF2B5EF4-FFF2-40B4-BE49-F238E27FC236}">
                <a16:creationId xmlns:a16="http://schemas.microsoft.com/office/drawing/2014/main" id="{BE1E3575-6E92-0DD4-5CA2-06E0A8AF9976}"/>
              </a:ext>
            </a:extLst>
          </p:cNvPr>
          <p:cNvCxnSpPr>
            <a:cxnSpLocks/>
            <a:stCxn id="489" idx="2"/>
            <a:endCxn id="490" idx="0"/>
          </p:cNvCxnSpPr>
          <p:nvPr/>
        </p:nvCxnSpPr>
        <p:spPr>
          <a:xfrm rot="5400000">
            <a:off x="6895081" y="1899109"/>
            <a:ext cx="400206" cy="468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肘形连接符 509">
            <a:extLst>
              <a:ext uri="{FF2B5EF4-FFF2-40B4-BE49-F238E27FC236}">
                <a16:creationId xmlns:a16="http://schemas.microsoft.com/office/drawing/2014/main" id="{964E7EF4-B703-5584-E8D4-7380AFCF2480}"/>
              </a:ext>
            </a:extLst>
          </p:cNvPr>
          <p:cNvCxnSpPr>
            <a:cxnSpLocks/>
            <a:stCxn id="489" idx="2"/>
            <a:endCxn id="492" idx="0"/>
          </p:cNvCxnSpPr>
          <p:nvPr/>
        </p:nvCxnSpPr>
        <p:spPr>
          <a:xfrm rot="5400000">
            <a:off x="7050283" y="2054311"/>
            <a:ext cx="400206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肘形连接符 512">
            <a:extLst>
              <a:ext uri="{FF2B5EF4-FFF2-40B4-BE49-F238E27FC236}">
                <a16:creationId xmlns:a16="http://schemas.microsoft.com/office/drawing/2014/main" id="{B8B5FF6E-4000-2403-7074-CE7ACFA6810A}"/>
              </a:ext>
            </a:extLst>
          </p:cNvPr>
          <p:cNvCxnSpPr>
            <a:cxnSpLocks/>
            <a:stCxn id="489" idx="2"/>
            <a:endCxn id="501" idx="0"/>
          </p:cNvCxnSpPr>
          <p:nvPr/>
        </p:nvCxnSpPr>
        <p:spPr>
          <a:xfrm rot="16200000" flipH="1">
            <a:off x="7218565" y="2043821"/>
            <a:ext cx="400206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肘形连接符 516">
            <a:extLst>
              <a:ext uri="{FF2B5EF4-FFF2-40B4-BE49-F238E27FC236}">
                <a16:creationId xmlns:a16="http://schemas.microsoft.com/office/drawing/2014/main" id="{2A04C8A2-3134-AA5A-354F-12D3DA3EC3A6}"/>
              </a:ext>
            </a:extLst>
          </p:cNvPr>
          <p:cNvCxnSpPr>
            <a:cxnSpLocks/>
            <a:stCxn id="489" idx="2"/>
            <a:endCxn id="503" idx="0"/>
          </p:cNvCxnSpPr>
          <p:nvPr/>
        </p:nvCxnSpPr>
        <p:spPr>
          <a:xfrm rot="16200000" flipH="1">
            <a:off x="7361476" y="1900910"/>
            <a:ext cx="400206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肘形连接符 522">
            <a:extLst>
              <a:ext uri="{FF2B5EF4-FFF2-40B4-BE49-F238E27FC236}">
                <a16:creationId xmlns:a16="http://schemas.microsoft.com/office/drawing/2014/main" id="{7B8E1A91-12D2-90BC-6B10-108878A998AB}"/>
              </a:ext>
            </a:extLst>
          </p:cNvPr>
          <p:cNvCxnSpPr>
            <a:cxnSpLocks/>
            <a:stCxn id="480" idx="2"/>
            <a:endCxn id="483" idx="0"/>
          </p:cNvCxnSpPr>
          <p:nvPr/>
        </p:nvCxnSpPr>
        <p:spPr>
          <a:xfrm rot="16200000" flipH="1">
            <a:off x="8456878" y="2046624"/>
            <a:ext cx="400206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肘形连接符 525">
            <a:extLst>
              <a:ext uri="{FF2B5EF4-FFF2-40B4-BE49-F238E27FC236}">
                <a16:creationId xmlns:a16="http://schemas.microsoft.com/office/drawing/2014/main" id="{D25AEA73-E655-3613-7098-42EC8513CFFB}"/>
              </a:ext>
            </a:extLst>
          </p:cNvPr>
          <p:cNvCxnSpPr>
            <a:cxnSpLocks/>
            <a:stCxn id="480" idx="2"/>
            <a:endCxn id="481" idx="0"/>
          </p:cNvCxnSpPr>
          <p:nvPr/>
        </p:nvCxnSpPr>
        <p:spPr>
          <a:xfrm rot="5400000">
            <a:off x="8286867" y="2049779"/>
            <a:ext cx="400206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5DB0992C-CA02-6F88-C52E-4C833FD7FFC5}"/>
              </a:ext>
            </a:extLst>
          </p:cNvPr>
          <p:cNvSpPr/>
          <p:nvPr/>
        </p:nvSpPr>
        <p:spPr>
          <a:xfrm>
            <a:off x="6603887" y="4337042"/>
            <a:ext cx="2540212" cy="2299253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9E31B038-6B0C-5976-5F8C-D832EC6978DC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9C3D8B86-9666-8619-D3A1-071D31568A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FE528CD5-432E-51AD-3B63-B77D4E3A92BF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B6828EEE-60AC-6EE7-781B-86C3C1F140AC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35A6F286-E835-02FF-6F5C-6CBDE346C3FA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5F8D5FDB-B421-F880-7359-345987B65AB3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01F23845-C174-1C26-1513-0B936C827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813EA706-9B48-D2E5-3826-D2E8BEDA1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A6264DA0-C34C-1297-E48A-EBC9DB65964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1E97BBCF-CDF4-B27D-70BC-C49941478862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B7C4BE63-0F1A-B694-B6D4-5E1596F23918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B1CCBD2F-8A88-3ECA-9B8C-EFB0ECBA1F0B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951AD6EE-8BAE-5D73-0935-DE06F368791A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EF88DCAB-B153-2F93-9721-9A61A87302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9A4D30F0-0178-60FE-3C2D-C600481A02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E9EFCCEE-DD31-7D1F-83B8-825B7A65498C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A18C63BA-7A6D-5F72-3135-ACB546E3C99A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393E780C-56C2-599D-C0BD-83CC99D4481E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8182A914-3A8E-300E-36A2-A42DB912F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EFC2F4DE-1E6C-336A-7C79-0980180CC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0E57FEB8-D9D6-C33C-76C6-A78B2DE0C356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6FAD0B47-2B99-79D3-F4D7-E96FB9A2CCEC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D6411A57-4D1E-C008-D5D7-DCB7EC59992F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A6C4EE6E-DB16-E45A-139B-988D005C35B2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83BC2204-1E1E-B2D4-45BE-7B26B4EF4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124464A4-7678-E400-554A-6A4B7D254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3DFFCC9D-E51F-E3F9-1883-F4D2B40CED5F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308728F6-AD95-437D-74F6-087AE1E2EFE2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B0EE43EF-7622-1EC3-2316-788360A3E14A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BF155FD0-F041-A120-5F77-586902CB7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83870298-2CE5-3B2F-521F-A991D32EC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0ABC2D7C-516E-152D-E5B2-47FB214566AA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DC6B5EB1-8985-383E-3CBA-581208C80375}"/>
              </a:ext>
            </a:extLst>
          </p:cNvPr>
          <p:cNvCxnSpPr>
            <a:cxnSpLocks/>
            <a:stCxn id="574" idx="1"/>
            <a:endCxn id="545" idx="2"/>
          </p:cNvCxnSpPr>
          <p:nvPr/>
        </p:nvCxnSpPr>
        <p:spPr>
          <a:xfrm rot="5400000">
            <a:off x="7143947" y="3523425"/>
            <a:ext cx="4175370" cy="1334798"/>
          </a:xfrm>
          <a:prstGeom prst="bentConnector3">
            <a:avLst>
              <a:gd name="adj1" fmla="val 105475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6E4F31C3-F93D-04E6-65B2-3645684F86E3}"/>
              </a:ext>
            </a:extLst>
          </p:cNvPr>
          <p:cNvCxnSpPr>
            <a:cxnSpLocks/>
            <a:stCxn id="574" idx="1"/>
            <a:endCxn id="549" idx="2"/>
          </p:cNvCxnSpPr>
          <p:nvPr/>
        </p:nvCxnSpPr>
        <p:spPr>
          <a:xfrm rot="5400000">
            <a:off x="6533887" y="2892369"/>
            <a:ext cx="4154375" cy="2575914"/>
          </a:xfrm>
          <a:prstGeom prst="bentConnector3">
            <a:avLst>
              <a:gd name="adj1" fmla="val 105503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6C13CED5-2562-A828-C035-7CC7E9E6CC49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46926062-6F06-BA98-C8BC-E735E5A702C6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38E7AA1B-9990-804C-5022-8EF5EE477B0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6AFEECCD-4B35-5975-1DAA-01FA2C361FD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DB0E3900-0819-A6C5-D160-9B2C29BEE2A5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852338F0-97CA-1B69-2755-01C877E652AA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0E98F544-9F41-A875-C98F-936A50430BE0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186B148E-25C6-9337-FB5B-A8B40CBBC28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489C7ADA-0A49-F16E-5A1C-A281986090E3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C59C121C-3069-209F-6F4F-9ACE46332DAD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296938F7-0BEC-5C01-980C-C1305C030A52}"/>
              </a:ext>
            </a:extLst>
          </p:cNvPr>
          <p:cNvCxnSpPr>
            <a:cxnSpLocks/>
            <a:stCxn id="490" idx="2"/>
            <a:endCxn id="549" idx="0"/>
          </p:cNvCxnSpPr>
          <p:nvPr/>
        </p:nvCxnSpPr>
        <p:spPr>
          <a:xfrm rot="16200000" flipH="1">
            <a:off x="5400942" y="4050618"/>
            <a:ext cx="3382318" cy="462031"/>
          </a:xfrm>
          <a:prstGeom prst="bentConnector3">
            <a:avLst>
              <a:gd name="adj1" fmla="val 9311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9BAB877D-F8A9-6878-EB57-0B1203982E8D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FD48BFA6-F8C0-9B45-32F7-CB4C8D54A400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B258270B-0B7E-4929-F399-81FC024DD60F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8" name="圆角矩形 597">
            <a:extLst>
              <a:ext uri="{FF2B5EF4-FFF2-40B4-BE49-F238E27FC236}">
                <a16:creationId xmlns:a16="http://schemas.microsoft.com/office/drawing/2014/main" id="{8353E55E-B966-5F9C-AD7B-91E43D8795FE}"/>
              </a:ext>
            </a:extLst>
          </p:cNvPr>
          <p:cNvSpPr/>
          <p:nvPr/>
        </p:nvSpPr>
        <p:spPr>
          <a:xfrm>
            <a:off x="7039025" y="4496554"/>
            <a:ext cx="277006" cy="166858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99" name="肘形连接符 598">
            <a:extLst>
              <a:ext uri="{FF2B5EF4-FFF2-40B4-BE49-F238E27FC236}">
                <a16:creationId xmlns:a16="http://schemas.microsoft.com/office/drawing/2014/main" id="{52C2EB1E-00F1-CFE3-19F6-D3FD5A9AAEA4}"/>
              </a:ext>
            </a:extLst>
          </p:cNvPr>
          <p:cNvCxnSpPr>
            <a:cxnSpLocks/>
            <a:stCxn id="598" idx="2"/>
            <a:endCxn id="552" idx="0"/>
          </p:cNvCxnSpPr>
          <p:nvPr/>
        </p:nvCxnSpPr>
        <p:spPr>
          <a:xfrm rot="5400000">
            <a:off x="6882480" y="4946256"/>
            <a:ext cx="577893" cy="1220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3" name="肘形连接符 602">
            <a:extLst>
              <a:ext uri="{FF2B5EF4-FFF2-40B4-BE49-F238E27FC236}">
                <a16:creationId xmlns:a16="http://schemas.microsoft.com/office/drawing/2014/main" id="{E34F73B2-8D57-CB10-947B-77C1565C3385}"/>
              </a:ext>
            </a:extLst>
          </p:cNvPr>
          <p:cNvCxnSpPr>
            <a:cxnSpLocks/>
            <a:stCxn id="492" idx="2"/>
            <a:endCxn id="598" idx="0"/>
          </p:cNvCxnSpPr>
          <p:nvPr/>
        </p:nvCxnSpPr>
        <p:spPr>
          <a:xfrm rot="16200000" flipH="1">
            <a:off x="6221469" y="3540495"/>
            <a:ext cx="1906078" cy="60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6" name="文本框 605">
            <a:extLst>
              <a:ext uri="{FF2B5EF4-FFF2-40B4-BE49-F238E27FC236}">
                <a16:creationId xmlns:a16="http://schemas.microsoft.com/office/drawing/2014/main" id="{32062DE8-1C2A-15C3-592E-F70527682B40}"/>
              </a:ext>
            </a:extLst>
          </p:cNvPr>
          <p:cNvSpPr txBox="1"/>
          <p:nvPr/>
        </p:nvSpPr>
        <p:spPr>
          <a:xfrm>
            <a:off x="7031477" y="2616546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moun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7" name="文本框 606">
            <a:extLst>
              <a:ext uri="{FF2B5EF4-FFF2-40B4-BE49-F238E27FC236}">
                <a16:creationId xmlns:a16="http://schemas.microsoft.com/office/drawing/2014/main" id="{66F1DF4B-CA3B-1ADA-04BE-F91323F6C82E}"/>
              </a:ext>
            </a:extLst>
          </p:cNvPr>
          <p:cNvSpPr txBox="1"/>
          <p:nvPr/>
        </p:nvSpPr>
        <p:spPr>
          <a:xfrm>
            <a:off x="7025811" y="4807428"/>
            <a:ext cx="291356" cy="92333"/>
          </a:xfrm>
          <a:prstGeom prst="rect">
            <a:avLst/>
          </a:prstGeom>
          <a:solidFill>
            <a:srgbClr val="B6D1EC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mount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86FFF0E9-DCCC-CEC9-43A6-ADCC1270AE43}"/>
              </a:ext>
            </a:extLst>
          </p:cNvPr>
          <p:cNvCxnSpPr>
            <a:cxnSpLocks/>
            <a:stCxn id="549" idx="1"/>
            <a:endCxn id="498" idx="3"/>
          </p:cNvCxnSpPr>
          <p:nvPr/>
        </p:nvCxnSpPr>
        <p:spPr>
          <a:xfrm rot="10800000">
            <a:off x="5911387" y="3596338"/>
            <a:ext cx="1204682" cy="2518817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46F92672-FD44-11A6-9BE0-8CA575FE9A6F}"/>
              </a:ext>
            </a:extLst>
          </p:cNvPr>
          <p:cNvCxnSpPr>
            <a:cxnSpLocks/>
            <a:stCxn id="499" idx="3"/>
            <a:endCxn id="549" idx="1"/>
          </p:cNvCxnSpPr>
          <p:nvPr/>
        </p:nvCxnSpPr>
        <p:spPr>
          <a:xfrm>
            <a:off x="5904591" y="3912159"/>
            <a:ext cx="1211478" cy="220299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肘形连接符 52">
            <a:extLst>
              <a:ext uri="{FF2B5EF4-FFF2-40B4-BE49-F238E27FC236}">
                <a16:creationId xmlns:a16="http://schemas.microsoft.com/office/drawing/2014/main" id="{46CD5DDD-ED7B-DC77-F12A-3249818D15F6}"/>
              </a:ext>
            </a:extLst>
          </p:cNvPr>
          <p:cNvCxnSpPr>
            <a:cxnSpLocks/>
            <a:stCxn id="501" idx="2"/>
            <a:endCxn id="553" idx="0"/>
          </p:cNvCxnSpPr>
          <p:nvPr/>
        </p:nvCxnSpPr>
        <p:spPr>
          <a:xfrm rot="5400000">
            <a:off x="6121837" y="3912808"/>
            <a:ext cx="2766271" cy="61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肘形连接符 55">
            <a:extLst>
              <a:ext uri="{FF2B5EF4-FFF2-40B4-BE49-F238E27FC236}">
                <a16:creationId xmlns:a16="http://schemas.microsoft.com/office/drawing/2014/main" id="{CEDA6987-0262-9D99-3617-D703699511A8}"/>
              </a:ext>
            </a:extLst>
          </p:cNvPr>
          <p:cNvCxnSpPr>
            <a:cxnSpLocks/>
            <a:stCxn id="503" idx="2"/>
            <a:endCxn id="554" idx="0"/>
          </p:cNvCxnSpPr>
          <p:nvPr/>
        </p:nvCxnSpPr>
        <p:spPr>
          <a:xfrm rot="5400000">
            <a:off x="6407659" y="3912808"/>
            <a:ext cx="2766271" cy="61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>
            <a:extLst>
              <a:ext uri="{FF2B5EF4-FFF2-40B4-BE49-F238E27FC236}">
                <a16:creationId xmlns:a16="http://schemas.microsoft.com/office/drawing/2014/main" id="{2D99620A-7409-4457-25BC-95A1AF24CFB9}"/>
              </a:ext>
            </a:extLst>
          </p:cNvPr>
          <p:cNvSpPr txBox="1"/>
          <p:nvPr/>
        </p:nvSpPr>
        <p:spPr>
          <a:xfrm>
            <a:off x="7361364" y="2592512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ex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AC01637-8FD2-682F-8F28-B09B1ECC24FD}"/>
              </a:ext>
            </a:extLst>
          </p:cNvPr>
          <p:cNvSpPr txBox="1"/>
          <p:nvPr/>
        </p:nvSpPr>
        <p:spPr>
          <a:xfrm>
            <a:off x="7656268" y="2592512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ex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A047628-6D66-E42F-70E8-5179DB630277}"/>
              </a:ext>
            </a:extLst>
          </p:cNvPr>
          <p:cNvSpPr txBox="1"/>
          <p:nvPr/>
        </p:nvSpPr>
        <p:spPr>
          <a:xfrm>
            <a:off x="7352377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C065B621-512B-99AA-A5FF-C568180837F8}"/>
              </a:ext>
            </a:extLst>
          </p:cNvPr>
          <p:cNvSpPr txBox="1"/>
          <p:nvPr/>
        </p:nvSpPr>
        <p:spPr>
          <a:xfrm>
            <a:off x="7647281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48" name="图片 447" descr="形状&#10;&#10;AI 生成的内容可能不正确。">
            <a:extLst>
              <a:ext uri="{FF2B5EF4-FFF2-40B4-BE49-F238E27FC236}">
                <a16:creationId xmlns:a16="http://schemas.microsoft.com/office/drawing/2014/main" id="{B58E3AFF-8219-2543-FA0C-4B774371A2C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03907" y="3624097"/>
            <a:ext cx="170086" cy="170086"/>
          </a:xfrm>
          <a:prstGeom prst="rect">
            <a:avLst/>
          </a:prstGeom>
        </p:spPr>
      </p:pic>
      <p:pic>
        <p:nvPicPr>
          <p:cNvPr id="449" name="图片 448" descr="形状&#10;&#10;AI 生成的内容可能不正确。">
            <a:extLst>
              <a:ext uri="{FF2B5EF4-FFF2-40B4-BE49-F238E27FC236}">
                <a16:creationId xmlns:a16="http://schemas.microsoft.com/office/drawing/2014/main" id="{2893ADEB-5389-C872-3F22-56302634154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426062" y="3618771"/>
            <a:ext cx="170086" cy="170086"/>
          </a:xfrm>
          <a:prstGeom prst="rect">
            <a:avLst/>
          </a:prstGeom>
        </p:spPr>
      </p:pic>
      <p:sp>
        <p:nvSpPr>
          <p:cNvPr id="450" name="文本框 449">
            <a:extLst>
              <a:ext uri="{FF2B5EF4-FFF2-40B4-BE49-F238E27FC236}">
                <a16:creationId xmlns:a16="http://schemas.microsoft.com/office/drawing/2014/main" id="{E8641619-EDAA-D7FA-7EC5-9F9E4DC2C3C6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1" name="文本框 450">
            <a:extLst>
              <a:ext uri="{FF2B5EF4-FFF2-40B4-BE49-F238E27FC236}">
                <a16:creationId xmlns:a16="http://schemas.microsoft.com/office/drawing/2014/main" id="{45A1C434-751A-59A6-FDC9-DC1BC26B1C0E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52" name="文本框 451">
            <a:extLst>
              <a:ext uri="{FF2B5EF4-FFF2-40B4-BE49-F238E27FC236}">
                <a16:creationId xmlns:a16="http://schemas.microsoft.com/office/drawing/2014/main" id="{2E20989D-A7D6-3521-0A4E-E5901EE9C5C8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4AA84A0C-4F59-9506-8965-AF3780417244}"/>
              </a:ext>
            </a:extLst>
          </p:cNvPr>
          <p:cNvSpPr txBox="1"/>
          <p:nvPr/>
        </p:nvSpPr>
        <p:spPr>
          <a:xfrm>
            <a:off x="9923808" y="3303642"/>
            <a:ext cx="354383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同步范围：</a:t>
            </a:r>
            <a:br>
              <a:rPr kumimoji="1" lang="en-US" altLang="zh-SG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1" lang="en-US" altLang="zh-SG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kumimoji="1" lang="zh-SG" altLang="en-US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中间件：</a:t>
            </a:r>
            <a:endParaRPr kumimoji="1" lang="en-US" altLang="zh-SG" sz="800" b="1" dirty="0">
              <a:solidFill>
                <a:srgbClr val="00833B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ES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Arial" panose="020B0604020202020204" pitchFamily="34" charset="0"/>
                <a:cs typeface="Arial" panose="020B0604020202020204" pitchFamily="34" charset="0"/>
              </a:rPr>
              <a:t>ClickHouse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QMDB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Arial" panose="020B0604020202020204" pitchFamily="34" charset="0"/>
                <a:cs typeface="Arial" panose="020B0604020202020204" pitchFamily="34" charset="0"/>
              </a:rPr>
              <a:t>Zcache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（需要确认哪些数据只存在缓存中，不在数据库中，且需要同步到新环境）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-OSS 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部分，账务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BALC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，</a:t>
            </a: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停复机可能需要同步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kong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周四</a:t>
            </a:r>
            <a:b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现场收集一下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Zcache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的数据量？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提供下查询命令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ZMQ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Kafka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（不需要同步）</a:t>
            </a: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ooKeeper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rika (</a:t>
            </a:r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不需要同步）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SPG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不同步（不影响</a:t>
            </a:r>
            <a:r>
              <a:rPr kumimoji="1" lang="en-US" altLang="zh-CN" sz="800" dirty="0" err="1">
                <a:latin typeface="Calibri" panose="020F0502020204030204" pitchFamily="34" charset="0"/>
                <a:cs typeface="Calibri" panose="020F0502020204030204" pitchFamily="34" charset="0"/>
              </a:rPr>
              <a:t>itracing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调用链查看）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---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需要再确认下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监控告警？（主机不需要监控）</a:t>
            </a: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列一下具体的执行条目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1" lang="en-US" altLang="zh-SG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MySQL Database:</a:t>
            </a:r>
          </a:p>
          <a:p>
            <a:pPr marL="171450" indent="-171450">
              <a:buFontTx/>
              <a:buChar char="-"/>
            </a:pP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业务数据库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ZCM (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zcm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sgp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wdp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kumimoji="1" lang="zh-CN" altLang="en-US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云盘：</a:t>
            </a:r>
            <a:endParaRPr kumimoji="1" lang="en-US" altLang="zh-CN" sz="800" b="1" dirty="0">
              <a:solidFill>
                <a:srgbClr val="00833B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业务云盘（需要将新旧环境的云盘挂载到一个专有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pod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，然后通过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rsync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进行复制）</a:t>
            </a: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ZCM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云盘  </a:t>
            </a:r>
            <a:endParaRPr kumimoji="1" lang="zh-SG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471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26101A-8358-A234-A157-FCCC5E8AD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4907666F-0E51-2B20-DEC1-44AD50CF83C2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E27D7605-ECB0-6309-6633-A50B6BF9F57C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2E6B883-244B-DF8B-8128-C19A54B84C73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55F526F-1AE0-E8DB-6860-C295D9E5AB19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8BBD065A-F9AA-5E4E-910A-598D94C0F2C4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A9CF8941-917D-9436-1D01-36266D1F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B9A92210-2DB2-ACD6-29E8-17F4C7673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B4087581-08A3-E8F6-55EF-77184871A33A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C5BD851-F81A-24B3-BCF8-601E2A2AE0A5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974FC745-E13B-BC2B-A7F6-58F9DE9C4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B2FF6BC-54D3-02E0-818E-17DD2682D966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A746936-D6F5-9EEE-B441-60555B6B295F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47E9849A-48F4-062E-9BF5-FA9BD478F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66E826AE-473D-8254-09F1-8B71527F53B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8F30C0CE-FA55-EA5D-9706-6625D6BD14EB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CEB479F3-C552-CD0C-4D65-1763A6F65C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397ED032-A13F-E98A-87B3-C213FAF8EE14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E34FE09-C150-814F-30E9-FD4FAABB498F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FFB9E5C1-1526-5493-6664-C2530D67E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3173D61-7035-571E-8013-93BBDB47B994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64CB37B2-FBC3-BA41-9F8D-00992C3A8605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AAE21106-C4F6-A168-19F8-9DAEE8E45DD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DE081251-F6F8-E159-B844-86B5196068E7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384F5BEB-4914-1AAD-43EE-B85532FA42CD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40AF6AB-5F1F-D031-A49A-353EEEB05AE7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E49126E-2832-1F4F-96A3-6F1278CF0B2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42CA743F-47D0-DAEE-3B2E-43D72C752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EF9966A4-585E-63EC-D931-62F92FDAC59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810BDEAA-1F9B-7B8C-C532-F60E924BFD19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84E8DE37-489A-2118-682A-162E546A132E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FFD1EB09-4D88-6AD9-737A-93B7CF35C4CB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E910961D-3E90-D34F-58CE-7883DC1729C9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2CF9F5AE-4634-DB8E-2521-1C3C39454FA2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4E849315-3692-78C6-D02C-79CE70196149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43D95C9-F1F0-E5B3-A0BB-37FA814A44D5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D9649A8-57FA-1A21-F11B-BC1823B39E00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E2900162-7A77-A211-13DF-69A7AA404C31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0D669FBB-6D96-4265-08A1-9E86E8F42FA5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018285" cy="543009"/>
          </a:xfrm>
          <a:prstGeom prst="bentConnector3">
            <a:avLst>
              <a:gd name="adj1" fmla="val 78357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423276B1-29DE-6839-9055-9964C310C2B6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D66FE25B-7E79-8FC1-507F-6EBD344A6009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03A8C30C-516B-AEA5-5380-A0F5F55C7733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4C4BF919-19C6-41B0-6679-7A4E305ADED8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5D0A63CA-A661-5030-F6BB-956806B05B6F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7F0D9F27-8D23-CD72-F854-C3BACDC20D10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A535F598-0DBE-A369-43F4-47CCDD486C44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053439BE-EAA9-ED58-06FC-A13317ECFB33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E11170DC-2E3C-EBB1-9640-AFFCEC29637C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DFE1F0DA-E345-2939-E6E5-81E4C4A694A4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4C5A95E-A367-8DE1-0E85-3E4E8ACB2550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9D4A965B-0273-56E4-766F-3A17D5A6795D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754915F5-4EAC-81E9-B392-5373B56E5A91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BB8AF51F-7C67-CD44-BA8A-D2AFE3500362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8BA79625-7317-B4DB-7CEC-C3DDAF380043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75E6321C-21E2-5259-C6E0-C3705A9AA0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998D5D6D-FCC7-7447-1BF8-673177E82D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73B0B40D-28AC-1D2C-BABA-B223CF3147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220179DC-B762-7CA4-A6D2-971221C09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63E6517A-8544-55F3-BFFC-4A22960DE373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FDB255A2-7E17-17AE-F36A-B267CA5FF6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12262F7C-9CE4-F713-3A01-E651DFC8DF6F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01E1A3FF-0C2B-16D6-201F-22961FAA9057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CF0AD8CE-A3AE-54CC-A8F9-0ADA761748B1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43A9696D-97FF-8A90-2C22-8B0FC054A0C8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985D1C4C-0E37-B7E5-9408-92173F25B89C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9A8556D6-8047-5148-8E2E-4F37AF9DBD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2D7643AB-2160-4AC9-3E7B-108E7B6F8D0E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480C7EBF-0477-911B-9327-DDB96D2B391D}"/>
              </a:ext>
            </a:extLst>
          </p:cNvPr>
          <p:cNvCxnSpPr>
            <a:cxnSpLocks/>
            <a:stCxn id="521" idx="0"/>
            <a:endCxn id="549" idx="1"/>
          </p:cNvCxnSpPr>
          <p:nvPr/>
        </p:nvCxnSpPr>
        <p:spPr>
          <a:xfrm rot="16200000" flipH="1">
            <a:off x="4770820" y="3769905"/>
            <a:ext cx="3639028" cy="1051470"/>
          </a:xfrm>
          <a:prstGeom prst="bentConnector4">
            <a:avLst>
              <a:gd name="adj1" fmla="val -6282"/>
              <a:gd name="adj2" fmla="val 42565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AE66C52E-1A48-DDED-7672-406217C42E0E}"/>
              </a:ext>
            </a:extLst>
          </p:cNvPr>
          <p:cNvSpPr/>
          <p:nvPr/>
        </p:nvSpPr>
        <p:spPr>
          <a:xfrm>
            <a:off x="6603887" y="4337042"/>
            <a:ext cx="2540212" cy="2299253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1DFD5463-428E-9CA6-CA31-12B57CA4F103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19AA5B6E-D768-6C54-00DE-C448CE40F0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B7184262-B0F4-5A7E-F8BB-9C43E090ED54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38B604B0-9831-AF7C-A49A-5BB07F82A5D6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1B67919D-3E1B-D349-6B3B-6DD5D556483E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6AAD4F8B-B55F-D3BD-33FF-E56AACF11A5E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01ACBF08-CA85-E648-C77E-AE15A753A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568EA052-F213-0092-FCED-BC1B0683C3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5BFBAD7B-E0B3-A398-8E1E-85E7707C6F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A6A79143-04C5-2950-3422-054013E3F763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996ED20C-FD0B-54E9-7F92-BA3C985241C1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07585B01-67D5-C10B-6364-AA7118995B3B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DD24FD6F-E7A7-A42A-AEE3-3BF2C5266881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8F53B73C-A6FA-B33C-4FF7-2C2AB0B90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C816862B-8674-A9B9-920B-9E047EAB9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1E7EC74B-4B00-0257-73B9-0352C84FA635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BBE45B5F-9B01-EE06-DBC1-E1C009B53AD8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C1A79F10-82CB-3559-6C3E-E5903F36DAB7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E9FEE733-7060-202F-5536-2C39FD6A2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46E87649-1469-AF00-7B02-3623EA2EB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08B7003A-ABE2-9E39-A474-64E616E5ABB4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D40505A7-F753-023D-A151-28AB5D8D4F05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0F2BA483-5476-C265-AD50-6009C1C0DA14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59A1E1FF-3294-76A5-1293-E904CF33798A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081ED66B-A0B8-58C3-9E90-C4021583C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668BD1DF-F423-D367-8A89-39C2936A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8D79DFF9-E157-7CBA-D04C-28EE285931A4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8635BFDD-1934-B7DE-D9B7-D8D1423BC9AC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FF2EBBE5-860B-4285-714F-43054A7C79EC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1DD778E2-BC9D-4B5E-4117-641916F0F2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2E059406-EB5E-CEB4-853A-A05DD12BF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9CD24A2A-7ED2-C560-2AB9-BC93F68C4EE1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0E3225B4-3F1E-A970-9720-66E6DF9736E4}"/>
              </a:ext>
            </a:extLst>
          </p:cNvPr>
          <p:cNvCxnSpPr>
            <a:cxnSpLocks/>
            <a:stCxn id="574" idx="1"/>
            <a:endCxn id="545" idx="2"/>
          </p:cNvCxnSpPr>
          <p:nvPr/>
        </p:nvCxnSpPr>
        <p:spPr>
          <a:xfrm rot="5400000">
            <a:off x="7143947" y="3523425"/>
            <a:ext cx="4175370" cy="1334798"/>
          </a:xfrm>
          <a:prstGeom prst="bentConnector3">
            <a:avLst>
              <a:gd name="adj1" fmla="val 105475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3C3C3940-191C-D3F3-186D-88D9778BED47}"/>
              </a:ext>
            </a:extLst>
          </p:cNvPr>
          <p:cNvCxnSpPr>
            <a:cxnSpLocks/>
            <a:stCxn id="574" idx="1"/>
            <a:endCxn id="549" idx="2"/>
          </p:cNvCxnSpPr>
          <p:nvPr/>
        </p:nvCxnSpPr>
        <p:spPr>
          <a:xfrm rot="5400000">
            <a:off x="6533887" y="2892369"/>
            <a:ext cx="4154375" cy="2575914"/>
          </a:xfrm>
          <a:prstGeom prst="bentConnector3">
            <a:avLst>
              <a:gd name="adj1" fmla="val 105503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E4FB22C9-6AA9-3C79-3E52-3A349333A266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21A2CA9C-1479-3C07-C8DC-AF6EBB2599B3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573D2DE7-33BA-BBC5-B689-3CBAF0C946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57512B7A-F0BC-3D22-3982-8CD2E5F8488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AB7C8DB7-C24C-9C63-471B-A5691E4CD597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7456657A-89F3-8AC7-CDDE-858500F9464F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34C09AAA-BE70-040A-70C0-10E453FCBEFC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6FB9EF1E-20A0-14D4-DAFA-0BAA65B54FC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501F2308-9F3D-8861-1404-AFF1F0E0B98A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26163501-4A1C-2572-8E11-2804B026BB29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500134FC-FBB7-DE33-9B30-0D86408877CC}"/>
              </a:ext>
            </a:extLst>
          </p:cNvPr>
          <p:cNvCxnSpPr>
            <a:cxnSpLocks/>
            <a:stCxn id="490" idx="2"/>
            <a:endCxn id="549" idx="0"/>
          </p:cNvCxnSpPr>
          <p:nvPr/>
        </p:nvCxnSpPr>
        <p:spPr>
          <a:xfrm rot="16200000" flipH="1">
            <a:off x="5400942" y="4050618"/>
            <a:ext cx="3382318" cy="462031"/>
          </a:xfrm>
          <a:prstGeom prst="bentConnector3">
            <a:avLst>
              <a:gd name="adj1" fmla="val 9311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12F2557C-B63A-A1DF-853F-E861EBBACAC0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56501CB2-BC46-A26A-B54E-C366ABBDCB62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CD81C146-A0FE-1023-C1B5-2E2681AADE98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3B46729A-5BDC-2658-F557-8CE6C1894D5E}"/>
              </a:ext>
            </a:extLst>
          </p:cNvPr>
          <p:cNvCxnSpPr>
            <a:cxnSpLocks/>
            <a:stCxn id="549" idx="1"/>
            <a:endCxn id="498" idx="3"/>
          </p:cNvCxnSpPr>
          <p:nvPr/>
        </p:nvCxnSpPr>
        <p:spPr>
          <a:xfrm rot="10800000">
            <a:off x="5911387" y="3596338"/>
            <a:ext cx="1204682" cy="2518817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98F8190F-43DA-AECD-5327-05E33B6F4D51}"/>
              </a:ext>
            </a:extLst>
          </p:cNvPr>
          <p:cNvCxnSpPr>
            <a:cxnSpLocks/>
            <a:stCxn id="499" idx="3"/>
            <a:endCxn id="549" idx="1"/>
          </p:cNvCxnSpPr>
          <p:nvPr/>
        </p:nvCxnSpPr>
        <p:spPr>
          <a:xfrm>
            <a:off x="5904591" y="3912159"/>
            <a:ext cx="1211478" cy="220299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5BB85F23-199E-6560-8228-24C1FBDC5C03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B0B7AAF-3216-A8E4-2CAA-C0ECA96F9BD5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40C2EA3-1ED9-97D9-E48A-524B7237EADC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899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5D2302-01B7-F3F3-7275-09103B83F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标题 2">
            <a:extLst>
              <a:ext uri="{FF2B5EF4-FFF2-40B4-BE49-F238E27FC236}">
                <a16:creationId xmlns:a16="http://schemas.microsoft.com/office/drawing/2014/main" id="{59075102-DAE1-A8A0-9CA0-A86D709F9D5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 AKS Data Sync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B8F66210-5B14-10FA-55F1-18D14713F694}"/>
              </a:ext>
            </a:extLst>
          </p:cNvPr>
          <p:cNvSpPr/>
          <p:nvPr/>
        </p:nvSpPr>
        <p:spPr>
          <a:xfrm>
            <a:off x="496950" y="4588932"/>
            <a:ext cx="10971897" cy="1693335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645776-602A-EE1C-9D90-E59FDC1DFAF5}"/>
              </a:ext>
            </a:extLst>
          </p:cNvPr>
          <p:cNvSpPr/>
          <p:nvPr/>
        </p:nvSpPr>
        <p:spPr>
          <a:xfrm>
            <a:off x="485116" y="718027"/>
            <a:ext cx="10983732" cy="1551041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7E11A021-0F86-A71D-630E-E23BFE9A6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04" y="1093433"/>
            <a:ext cx="973559" cy="973559"/>
          </a:xfrm>
          <a:prstGeom prst="rect">
            <a:avLst/>
          </a:prstGeom>
        </p:spPr>
      </p:pic>
      <p:sp>
        <p:nvSpPr>
          <p:cNvPr id="33" name="圆角矩形 32">
            <a:extLst>
              <a:ext uri="{FF2B5EF4-FFF2-40B4-BE49-F238E27FC236}">
                <a16:creationId xmlns:a16="http://schemas.microsoft.com/office/drawing/2014/main" id="{7900BE77-8DAD-ABA4-3873-10FACC995F73}"/>
              </a:ext>
            </a:extLst>
          </p:cNvPr>
          <p:cNvSpPr/>
          <p:nvPr/>
        </p:nvSpPr>
        <p:spPr>
          <a:xfrm>
            <a:off x="7714463" y="1099993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8ECCB9C9-5CA8-11B7-4F66-2E7BB3EFA7BC}"/>
              </a:ext>
            </a:extLst>
          </p:cNvPr>
          <p:cNvSpPr/>
          <p:nvPr/>
        </p:nvSpPr>
        <p:spPr>
          <a:xfrm>
            <a:off x="2407438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IDMS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48" name="图片 47">
            <a:extLst>
              <a:ext uri="{FF2B5EF4-FFF2-40B4-BE49-F238E27FC236}">
                <a16:creationId xmlns:a16="http://schemas.microsoft.com/office/drawing/2014/main" id="{43E8371D-987C-F594-1171-03E5D5FAE1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4927" y="1476528"/>
            <a:ext cx="529313" cy="529313"/>
          </a:xfrm>
          <a:prstGeom prst="rect">
            <a:avLst/>
          </a:prstGeom>
        </p:spPr>
      </p:pic>
      <p:sp>
        <p:nvSpPr>
          <p:cNvPr id="49" name="圆角矩形 48">
            <a:extLst>
              <a:ext uri="{FF2B5EF4-FFF2-40B4-BE49-F238E27FC236}">
                <a16:creationId xmlns:a16="http://schemas.microsoft.com/office/drawing/2014/main" id="{FE6BB70D-96E1-7E34-6D5D-42741073D3EE}"/>
              </a:ext>
            </a:extLst>
          </p:cNvPr>
          <p:cNvSpPr/>
          <p:nvPr/>
        </p:nvSpPr>
        <p:spPr>
          <a:xfrm>
            <a:off x="9519925" y="1099993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CK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id="{86A0F30A-5038-3FB9-16D1-A59557FA45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5173" y="1476528"/>
            <a:ext cx="529313" cy="529313"/>
          </a:xfrm>
          <a:prstGeom prst="rect">
            <a:avLst/>
          </a:prstGeom>
        </p:spPr>
      </p:pic>
      <p:sp>
        <p:nvSpPr>
          <p:cNvPr id="53" name="圆角矩形 52">
            <a:extLst>
              <a:ext uri="{FF2B5EF4-FFF2-40B4-BE49-F238E27FC236}">
                <a16:creationId xmlns:a16="http://schemas.microsoft.com/office/drawing/2014/main" id="{E8A7A815-600A-85F6-CF6C-0E73F5CD9053}"/>
              </a:ext>
            </a:extLst>
          </p:cNvPr>
          <p:cNvSpPr/>
          <p:nvPr/>
        </p:nvSpPr>
        <p:spPr>
          <a:xfrm>
            <a:off x="4194655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 err="1"/>
              <a:t>ZCache</a:t>
            </a:r>
            <a:endParaRPr kumimoji="1" lang="en-US" altLang="zh-SG" sz="1400" b="1" dirty="0"/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4" name="图片 53">
            <a:extLst>
              <a:ext uri="{FF2B5EF4-FFF2-40B4-BE49-F238E27FC236}">
                <a16:creationId xmlns:a16="http://schemas.microsoft.com/office/drawing/2014/main" id="{86110642-362E-5484-73D1-B5C68A32CC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4527" y="1518960"/>
            <a:ext cx="457077" cy="442790"/>
          </a:xfrm>
          <a:prstGeom prst="rect">
            <a:avLst/>
          </a:prstGeom>
        </p:spPr>
      </p:pic>
      <p:sp>
        <p:nvSpPr>
          <p:cNvPr id="55" name="圆角矩形 54">
            <a:extLst>
              <a:ext uri="{FF2B5EF4-FFF2-40B4-BE49-F238E27FC236}">
                <a16:creationId xmlns:a16="http://schemas.microsoft.com/office/drawing/2014/main" id="{1239B79D-6D7B-51A5-F4CC-B2889ABA0F65}"/>
              </a:ext>
            </a:extLst>
          </p:cNvPr>
          <p:cNvSpPr/>
          <p:nvPr/>
        </p:nvSpPr>
        <p:spPr>
          <a:xfrm>
            <a:off x="5954559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6" name="图片 55">
            <a:extLst>
              <a:ext uri="{FF2B5EF4-FFF2-40B4-BE49-F238E27FC236}">
                <a16:creationId xmlns:a16="http://schemas.microsoft.com/office/drawing/2014/main" id="{5F0A70D7-83DA-4D86-64F3-B5961B9764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4431" y="1518960"/>
            <a:ext cx="457077" cy="442790"/>
          </a:xfrm>
          <a:prstGeom prst="rect">
            <a:avLst/>
          </a:prstGeom>
        </p:spPr>
      </p:pic>
      <p:sp>
        <p:nvSpPr>
          <p:cNvPr id="57" name="圆角矩形 56">
            <a:extLst>
              <a:ext uri="{FF2B5EF4-FFF2-40B4-BE49-F238E27FC236}">
                <a16:creationId xmlns:a16="http://schemas.microsoft.com/office/drawing/2014/main" id="{F40F1A2A-9C2F-CCE4-AFD6-11B1AC9681ED}"/>
              </a:ext>
            </a:extLst>
          </p:cNvPr>
          <p:cNvSpPr/>
          <p:nvPr/>
        </p:nvSpPr>
        <p:spPr>
          <a:xfrm>
            <a:off x="7714463" y="4899016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ES</a:t>
            </a:r>
            <a:r>
              <a:rPr kumimoji="1" lang="zh-CN" altLang="en-US" sz="1400" b="1" dirty="0">
                <a:solidFill>
                  <a:schemeClr val="tx1"/>
                </a:solidFill>
              </a:rPr>
              <a:t>    </a:t>
            </a:r>
            <a:endParaRPr kumimoji="1" lang="en-US" altLang="zh-SG" sz="1400" b="1" dirty="0">
              <a:solidFill>
                <a:schemeClr val="tx1"/>
              </a:solidFill>
            </a:endParaRP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5BE14983-7EFC-4063-8776-80C53BB2A442}"/>
              </a:ext>
            </a:extLst>
          </p:cNvPr>
          <p:cNvSpPr/>
          <p:nvPr/>
        </p:nvSpPr>
        <p:spPr>
          <a:xfrm>
            <a:off x="2407438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IDMS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37AF1D6A-2400-1DEB-A989-4513F0B18F4A}"/>
              </a:ext>
            </a:extLst>
          </p:cNvPr>
          <p:cNvSpPr/>
          <p:nvPr/>
        </p:nvSpPr>
        <p:spPr>
          <a:xfrm>
            <a:off x="9519925" y="4899016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CK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E55C64D3-7DDB-60E4-0A7D-28CB05A7FD6A}"/>
              </a:ext>
            </a:extLst>
          </p:cNvPr>
          <p:cNvSpPr/>
          <p:nvPr/>
        </p:nvSpPr>
        <p:spPr>
          <a:xfrm>
            <a:off x="4194655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 err="1">
                <a:solidFill>
                  <a:schemeClr val="tx1"/>
                </a:solidFill>
              </a:rPr>
              <a:t>ZCache</a:t>
            </a:r>
            <a:endParaRPr kumimoji="1" lang="en-US" altLang="zh-SG" sz="1400" b="1" dirty="0">
              <a:solidFill>
                <a:schemeClr val="tx1"/>
              </a:solidFill>
            </a:endParaRP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pic>
        <p:nvPicPr>
          <p:cNvPr id="448" name="图片 447">
            <a:extLst>
              <a:ext uri="{FF2B5EF4-FFF2-40B4-BE49-F238E27FC236}">
                <a16:creationId xmlns:a16="http://schemas.microsoft.com/office/drawing/2014/main" id="{BC2D07EB-C347-BC03-C4A0-477CAD049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4527" y="5317983"/>
            <a:ext cx="457077" cy="442790"/>
          </a:xfrm>
          <a:prstGeom prst="rect">
            <a:avLst/>
          </a:prstGeom>
        </p:spPr>
      </p:pic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A5CB7DA9-C679-41CB-B9D8-5E5C9472D2D4}"/>
              </a:ext>
            </a:extLst>
          </p:cNvPr>
          <p:cNvSpPr/>
          <p:nvPr/>
        </p:nvSpPr>
        <p:spPr>
          <a:xfrm>
            <a:off x="5954559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QMDB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pic>
        <p:nvPicPr>
          <p:cNvPr id="450" name="图片 449">
            <a:extLst>
              <a:ext uri="{FF2B5EF4-FFF2-40B4-BE49-F238E27FC236}">
                <a16:creationId xmlns:a16="http://schemas.microsoft.com/office/drawing/2014/main" id="{00A9582D-7751-A503-23B6-E20EE70B49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4431" y="5317983"/>
            <a:ext cx="457077" cy="442790"/>
          </a:xfrm>
          <a:prstGeom prst="rect">
            <a:avLst/>
          </a:prstGeom>
        </p:spPr>
      </p:pic>
      <p:pic>
        <p:nvPicPr>
          <p:cNvPr id="451" name="图片 450">
            <a:extLst>
              <a:ext uri="{FF2B5EF4-FFF2-40B4-BE49-F238E27FC236}">
                <a16:creationId xmlns:a16="http://schemas.microsoft.com/office/drawing/2014/main" id="{5C56D661-5696-D603-50F4-7F4FEBE3B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04" y="5102772"/>
            <a:ext cx="973559" cy="973559"/>
          </a:xfrm>
          <a:prstGeom prst="rect">
            <a:avLst/>
          </a:prstGeom>
        </p:spPr>
      </p:pic>
      <p:sp>
        <p:nvSpPr>
          <p:cNvPr id="453" name="矩形 452">
            <a:extLst>
              <a:ext uri="{FF2B5EF4-FFF2-40B4-BE49-F238E27FC236}">
                <a16:creationId xmlns:a16="http://schemas.microsoft.com/office/drawing/2014/main" id="{1EF3E8BD-5737-1E66-9956-0FF919F68DA6}"/>
              </a:ext>
            </a:extLst>
          </p:cNvPr>
          <p:cNvSpPr/>
          <p:nvPr/>
        </p:nvSpPr>
        <p:spPr>
          <a:xfrm>
            <a:off x="485116" y="2879591"/>
            <a:ext cx="1614617" cy="1123452"/>
          </a:xfrm>
          <a:prstGeom prst="rect">
            <a:avLst/>
          </a:prstGeom>
          <a:solidFill>
            <a:srgbClr val="FFFF0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pic>
        <p:nvPicPr>
          <p:cNvPr id="452" name="图片 451">
            <a:extLst>
              <a:ext uri="{FF2B5EF4-FFF2-40B4-BE49-F238E27FC236}">
                <a16:creationId xmlns:a16="http://schemas.microsoft.com/office/drawing/2014/main" id="{F8F605C6-BE3F-0F9E-D6A0-BEC5B0AB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628" y="3124893"/>
            <a:ext cx="483711" cy="483711"/>
          </a:xfrm>
          <a:prstGeom prst="rect">
            <a:avLst/>
          </a:prstGeom>
        </p:spPr>
      </p:pic>
      <p:sp>
        <p:nvSpPr>
          <p:cNvPr id="454" name="矩形 453">
            <a:extLst>
              <a:ext uri="{FF2B5EF4-FFF2-40B4-BE49-F238E27FC236}">
                <a16:creationId xmlns:a16="http://schemas.microsoft.com/office/drawing/2014/main" id="{E5F8C722-B4B9-65BF-2962-05C6350DA059}"/>
              </a:ext>
            </a:extLst>
          </p:cNvPr>
          <p:cNvSpPr/>
          <p:nvPr/>
        </p:nvSpPr>
        <p:spPr>
          <a:xfrm>
            <a:off x="4018719" y="2879591"/>
            <a:ext cx="3296481" cy="1123452"/>
          </a:xfrm>
          <a:prstGeom prst="rect">
            <a:avLst/>
          </a:prstGeom>
          <a:solidFill>
            <a:srgbClr val="FFFF0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pic>
        <p:nvPicPr>
          <p:cNvPr id="457" name="图片 456" descr="形状, 矩形&#10;&#10;AI 生成的内容可能不正确。">
            <a:extLst>
              <a:ext uri="{FF2B5EF4-FFF2-40B4-BE49-F238E27FC236}">
                <a16:creationId xmlns:a16="http://schemas.microsoft.com/office/drawing/2014/main" id="{20EBFFCC-D060-954E-C8B9-21399AE324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3146" y="3169983"/>
            <a:ext cx="539839" cy="539839"/>
          </a:xfrm>
          <a:prstGeom prst="rect">
            <a:avLst/>
          </a:prstGeom>
        </p:spPr>
      </p:pic>
      <p:pic>
        <p:nvPicPr>
          <p:cNvPr id="464" name="图片 463" descr="形状, 矩形&#10;&#10;AI 生成的内容可能不正确。">
            <a:extLst>
              <a:ext uri="{FF2B5EF4-FFF2-40B4-BE49-F238E27FC236}">
                <a16:creationId xmlns:a16="http://schemas.microsoft.com/office/drawing/2014/main" id="{4847E49B-794D-31E3-445E-5DBD6C6209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3050" y="3169983"/>
            <a:ext cx="539839" cy="539839"/>
          </a:xfrm>
          <a:prstGeom prst="rect">
            <a:avLst/>
          </a:prstGeom>
        </p:spPr>
      </p:pic>
      <p:sp>
        <p:nvSpPr>
          <p:cNvPr id="466" name="文本框 465">
            <a:extLst>
              <a:ext uri="{FF2B5EF4-FFF2-40B4-BE49-F238E27FC236}">
                <a16:creationId xmlns:a16="http://schemas.microsoft.com/office/drawing/2014/main" id="{B6D2DF4B-56FE-88F7-DDBC-FF7CC3FF7A70}"/>
              </a:ext>
            </a:extLst>
          </p:cNvPr>
          <p:cNvSpPr txBox="1"/>
          <p:nvPr/>
        </p:nvSpPr>
        <p:spPr>
          <a:xfrm>
            <a:off x="775909" y="3596237"/>
            <a:ext cx="869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Linux VM</a:t>
            </a:r>
            <a:endParaRPr kumimoji="1" lang="zh-SG" altLang="en-US" sz="1200" b="1" dirty="0"/>
          </a:p>
        </p:txBody>
      </p:sp>
      <p:sp>
        <p:nvSpPr>
          <p:cNvPr id="468" name="文本框 467">
            <a:extLst>
              <a:ext uri="{FF2B5EF4-FFF2-40B4-BE49-F238E27FC236}">
                <a16:creationId xmlns:a16="http://schemas.microsoft.com/office/drawing/2014/main" id="{16F2FFD5-BA3F-B609-CDBB-A0AE80D8CF48}"/>
              </a:ext>
            </a:extLst>
          </p:cNvPr>
          <p:cNvSpPr txBox="1"/>
          <p:nvPr/>
        </p:nvSpPr>
        <p:spPr>
          <a:xfrm>
            <a:off x="5193547" y="3301402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200" b="1" dirty="0"/>
              <a:t>MFT Server</a:t>
            </a:r>
            <a:endParaRPr kumimoji="1" lang="zh-SG" altLang="en-US" sz="1200" b="1" dirty="0"/>
          </a:p>
        </p:txBody>
      </p:sp>
      <p:cxnSp>
        <p:nvCxnSpPr>
          <p:cNvPr id="470" name="直线箭头连接符 469">
            <a:extLst>
              <a:ext uri="{FF2B5EF4-FFF2-40B4-BE49-F238E27FC236}">
                <a16:creationId xmlns:a16="http://schemas.microsoft.com/office/drawing/2014/main" id="{C2797808-7A10-F955-5C01-F1B66D12E7F4}"/>
              </a:ext>
            </a:extLst>
          </p:cNvPr>
          <p:cNvCxnSpPr>
            <a:cxnSpLocks/>
            <a:endCxn id="58" idx="0"/>
          </p:cNvCxnSpPr>
          <p:nvPr/>
        </p:nvCxnSpPr>
        <p:spPr>
          <a:xfrm>
            <a:off x="2975849" y="1961750"/>
            <a:ext cx="0" cy="292293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7" name="直线箭头连接符 476">
            <a:extLst>
              <a:ext uri="{FF2B5EF4-FFF2-40B4-BE49-F238E27FC236}">
                <a16:creationId xmlns:a16="http://schemas.microsoft.com/office/drawing/2014/main" id="{D3F6569E-98CD-92E9-1567-6A1B44E98031}"/>
              </a:ext>
            </a:extLst>
          </p:cNvPr>
          <p:cNvCxnSpPr>
            <a:cxnSpLocks/>
            <a:stCxn id="54" idx="2"/>
            <a:endCxn id="457" idx="0"/>
          </p:cNvCxnSpPr>
          <p:nvPr/>
        </p:nvCxnSpPr>
        <p:spPr>
          <a:xfrm>
            <a:off x="4763066" y="1961750"/>
            <a:ext cx="0" cy="1208233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直线箭头连接符 479">
            <a:extLst>
              <a:ext uri="{FF2B5EF4-FFF2-40B4-BE49-F238E27FC236}">
                <a16:creationId xmlns:a16="http://schemas.microsoft.com/office/drawing/2014/main" id="{39389994-ABFA-AC58-FC23-B3C4802D2240}"/>
              </a:ext>
            </a:extLst>
          </p:cNvPr>
          <p:cNvCxnSpPr>
            <a:cxnSpLocks/>
            <a:stCxn id="457" idx="2"/>
            <a:endCxn id="63" idx="0"/>
          </p:cNvCxnSpPr>
          <p:nvPr/>
        </p:nvCxnSpPr>
        <p:spPr>
          <a:xfrm>
            <a:off x="4763066" y="3709822"/>
            <a:ext cx="0" cy="117486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直线箭头连接符 484">
            <a:extLst>
              <a:ext uri="{FF2B5EF4-FFF2-40B4-BE49-F238E27FC236}">
                <a16:creationId xmlns:a16="http://schemas.microsoft.com/office/drawing/2014/main" id="{F082E07D-F297-AD88-3E49-5B19D98D6C9C}"/>
              </a:ext>
            </a:extLst>
          </p:cNvPr>
          <p:cNvCxnSpPr>
            <a:cxnSpLocks/>
            <a:stCxn id="55" idx="2"/>
            <a:endCxn id="464" idx="0"/>
          </p:cNvCxnSpPr>
          <p:nvPr/>
        </p:nvCxnSpPr>
        <p:spPr>
          <a:xfrm>
            <a:off x="6522970" y="1991513"/>
            <a:ext cx="0" cy="117847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直线箭头连接符 488">
            <a:extLst>
              <a:ext uri="{FF2B5EF4-FFF2-40B4-BE49-F238E27FC236}">
                <a16:creationId xmlns:a16="http://schemas.microsoft.com/office/drawing/2014/main" id="{3E5F1A7F-ECE6-A62E-2FBD-A89CAF0FC3FC}"/>
              </a:ext>
            </a:extLst>
          </p:cNvPr>
          <p:cNvCxnSpPr>
            <a:cxnSpLocks/>
            <a:stCxn id="464" idx="2"/>
            <a:endCxn id="449" idx="0"/>
          </p:cNvCxnSpPr>
          <p:nvPr/>
        </p:nvCxnSpPr>
        <p:spPr>
          <a:xfrm>
            <a:off x="6522970" y="3709822"/>
            <a:ext cx="0" cy="117486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6" name="图片 495">
            <a:extLst>
              <a:ext uri="{FF2B5EF4-FFF2-40B4-BE49-F238E27FC236}">
                <a16:creationId xmlns:a16="http://schemas.microsoft.com/office/drawing/2014/main" id="{19058907-D5E5-9968-C68E-3083C3DDE2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6455" y="5363604"/>
            <a:ext cx="313146" cy="303358"/>
          </a:xfrm>
          <a:prstGeom prst="rect">
            <a:avLst/>
          </a:prstGeom>
        </p:spPr>
      </p:pic>
      <p:sp>
        <p:nvSpPr>
          <p:cNvPr id="500" name="文本框 499">
            <a:extLst>
              <a:ext uri="{FF2B5EF4-FFF2-40B4-BE49-F238E27FC236}">
                <a16:creationId xmlns:a16="http://schemas.microsoft.com/office/drawing/2014/main" id="{036F52D7-DB62-0CFB-E8F4-32EB73909CE2}"/>
              </a:ext>
            </a:extLst>
          </p:cNvPr>
          <p:cNvSpPr txBox="1"/>
          <p:nvPr/>
        </p:nvSpPr>
        <p:spPr>
          <a:xfrm>
            <a:off x="485116" y="758844"/>
            <a:ext cx="14200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>
                <a:solidFill>
                  <a:srgbClr val="FF0000"/>
                </a:solidFill>
              </a:rPr>
              <a:t>AS-IS Production</a:t>
            </a:r>
            <a:endParaRPr kumimoji="1" lang="zh-SG" altLang="en-US" sz="1200" b="1" dirty="0">
              <a:solidFill>
                <a:srgbClr val="FF0000"/>
              </a:solidFill>
            </a:endParaRPr>
          </a:p>
        </p:txBody>
      </p:sp>
      <p:sp>
        <p:nvSpPr>
          <p:cNvPr id="501" name="文本框 500">
            <a:extLst>
              <a:ext uri="{FF2B5EF4-FFF2-40B4-BE49-F238E27FC236}">
                <a16:creationId xmlns:a16="http://schemas.microsoft.com/office/drawing/2014/main" id="{3777139D-BB97-F58C-3DEE-7AEF0B916CE5}"/>
              </a:ext>
            </a:extLst>
          </p:cNvPr>
          <p:cNvSpPr txBox="1"/>
          <p:nvPr/>
        </p:nvSpPr>
        <p:spPr>
          <a:xfrm>
            <a:off x="460974" y="4549784"/>
            <a:ext cx="14720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TO-BE Production</a:t>
            </a:r>
            <a:endParaRPr kumimoji="1" lang="zh-SG" altLang="en-US" sz="1200" b="1" dirty="0"/>
          </a:p>
        </p:txBody>
      </p:sp>
      <p:sp>
        <p:nvSpPr>
          <p:cNvPr id="503" name="文本框 502">
            <a:extLst>
              <a:ext uri="{FF2B5EF4-FFF2-40B4-BE49-F238E27FC236}">
                <a16:creationId xmlns:a16="http://schemas.microsoft.com/office/drawing/2014/main" id="{339D5A21-0E00-A7F0-3D76-7CBBA080093F}"/>
              </a:ext>
            </a:extLst>
          </p:cNvPr>
          <p:cNvSpPr txBox="1"/>
          <p:nvPr/>
        </p:nvSpPr>
        <p:spPr>
          <a:xfrm>
            <a:off x="2979151" y="3313928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Data</a:t>
            </a:r>
          </a:p>
          <a:p>
            <a:r>
              <a:rPr kumimoji="1" lang="en-US" altLang="zh-SG" sz="1200" b="1" dirty="0"/>
              <a:t>Sync</a:t>
            </a:r>
            <a:endParaRPr kumimoji="1" lang="zh-SG" altLang="en-US" sz="1200" b="1" dirty="0"/>
          </a:p>
        </p:txBody>
      </p:sp>
      <p:sp>
        <p:nvSpPr>
          <p:cNvPr id="506" name="文本框 505">
            <a:extLst>
              <a:ext uri="{FF2B5EF4-FFF2-40B4-BE49-F238E27FC236}">
                <a16:creationId xmlns:a16="http://schemas.microsoft.com/office/drawing/2014/main" id="{10BF5263-CB1C-CC74-1A96-FF71B8597849}"/>
              </a:ext>
            </a:extLst>
          </p:cNvPr>
          <p:cNvSpPr txBox="1"/>
          <p:nvPr/>
        </p:nvSpPr>
        <p:spPr>
          <a:xfrm>
            <a:off x="4766726" y="2406607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sh</a:t>
            </a:r>
            <a:endParaRPr kumimoji="1" lang="zh-SG" altLang="en-US" sz="1200" b="1" dirty="0"/>
          </a:p>
        </p:txBody>
      </p:sp>
      <p:sp>
        <p:nvSpPr>
          <p:cNvPr id="507" name="文本框 506">
            <a:extLst>
              <a:ext uri="{FF2B5EF4-FFF2-40B4-BE49-F238E27FC236}">
                <a16:creationId xmlns:a16="http://schemas.microsoft.com/office/drawing/2014/main" id="{A243211D-8CD7-E6B5-209B-7FF8489658F2}"/>
              </a:ext>
            </a:extLst>
          </p:cNvPr>
          <p:cNvSpPr txBox="1"/>
          <p:nvPr/>
        </p:nvSpPr>
        <p:spPr>
          <a:xfrm>
            <a:off x="4744540" y="4164055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ll</a:t>
            </a:r>
            <a:endParaRPr kumimoji="1" lang="zh-SG" altLang="en-US" sz="1200" b="1" dirty="0"/>
          </a:p>
        </p:txBody>
      </p:sp>
      <p:sp>
        <p:nvSpPr>
          <p:cNvPr id="508" name="文本框 507">
            <a:extLst>
              <a:ext uri="{FF2B5EF4-FFF2-40B4-BE49-F238E27FC236}">
                <a16:creationId xmlns:a16="http://schemas.microsoft.com/office/drawing/2014/main" id="{139F1C8F-6A09-6411-E646-9780D2445E41}"/>
              </a:ext>
            </a:extLst>
          </p:cNvPr>
          <p:cNvSpPr txBox="1"/>
          <p:nvPr/>
        </p:nvSpPr>
        <p:spPr>
          <a:xfrm>
            <a:off x="6491228" y="4174394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ll</a:t>
            </a:r>
            <a:endParaRPr kumimoji="1" lang="zh-SG" altLang="en-US" sz="1200" b="1" dirty="0"/>
          </a:p>
        </p:txBody>
      </p:sp>
      <p:sp>
        <p:nvSpPr>
          <p:cNvPr id="509" name="文本框 508">
            <a:extLst>
              <a:ext uri="{FF2B5EF4-FFF2-40B4-BE49-F238E27FC236}">
                <a16:creationId xmlns:a16="http://schemas.microsoft.com/office/drawing/2014/main" id="{962C7DBA-4F41-07E2-14BC-4545E6F9C5C0}"/>
              </a:ext>
            </a:extLst>
          </p:cNvPr>
          <p:cNvSpPr txBox="1"/>
          <p:nvPr/>
        </p:nvSpPr>
        <p:spPr>
          <a:xfrm>
            <a:off x="6496188" y="2428930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sh</a:t>
            </a:r>
            <a:endParaRPr kumimoji="1" lang="zh-SG" altLang="en-US" sz="1200" b="1" dirty="0"/>
          </a:p>
        </p:txBody>
      </p:sp>
      <p:cxnSp>
        <p:nvCxnSpPr>
          <p:cNvPr id="510" name="直线箭头连接符 509">
            <a:extLst>
              <a:ext uri="{FF2B5EF4-FFF2-40B4-BE49-F238E27FC236}">
                <a16:creationId xmlns:a16="http://schemas.microsoft.com/office/drawing/2014/main" id="{452237CF-F3B3-09E9-186F-3E775612FED4}"/>
              </a:ext>
            </a:extLst>
          </p:cNvPr>
          <p:cNvCxnSpPr>
            <a:cxnSpLocks/>
            <a:stCxn id="11" idx="2"/>
            <a:endCxn id="452" idx="0"/>
          </p:cNvCxnSpPr>
          <p:nvPr/>
        </p:nvCxnSpPr>
        <p:spPr>
          <a:xfrm>
            <a:off x="1210484" y="2066992"/>
            <a:ext cx="0" cy="105790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直线箭头连接符 512">
            <a:extLst>
              <a:ext uri="{FF2B5EF4-FFF2-40B4-BE49-F238E27FC236}">
                <a16:creationId xmlns:a16="http://schemas.microsoft.com/office/drawing/2014/main" id="{E585FB6D-25F6-3026-1576-998D12881D1C}"/>
              </a:ext>
            </a:extLst>
          </p:cNvPr>
          <p:cNvCxnSpPr>
            <a:cxnSpLocks/>
            <a:stCxn id="451" idx="0"/>
            <a:endCxn id="466" idx="2"/>
          </p:cNvCxnSpPr>
          <p:nvPr/>
        </p:nvCxnSpPr>
        <p:spPr>
          <a:xfrm flipV="1">
            <a:off x="1210484" y="3873236"/>
            <a:ext cx="0" cy="122953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文本框 516">
            <a:extLst>
              <a:ext uri="{FF2B5EF4-FFF2-40B4-BE49-F238E27FC236}">
                <a16:creationId xmlns:a16="http://schemas.microsoft.com/office/drawing/2014/main" id="{4C3C26A7-8BA0-F516-A553-F61034A99E4D}"/>
              </a:ext>
            </a:extLst>
          </p:cNvPr>
          <p:cNvSpPr txBox="1"/>
          <p:nvPr/>
        </p:nvSpPr>
        <p:spPr>
          <a:xfrm>
            <a:off x="1146388" y="2430754"/>
            <a:ext cx="671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Mount</a:t>
            </a:r>
            <a:endParaRPr kumimoji="1" lang="zh-SG" altLang="en-US" sz="1200" b="1" dirty="0"/>
          </a:p>
        </p:txBody>
      </p:sp>
      <p:sp>
        <p:nvSpPr>
          <p:cNvPr id="518" name="文本框 517">
            <a:extLst>
              <a:ext uri="{FF2B5EF4-FFF2-40B4-BE49-F238E27FC236}">
                <a16:creationId xmlns:a16="http://schemas.microsoft.com/office/drawing/2014/main" id="{9CA2BB79-B2A8-E96E-35CD-AA5AE0F2A108}"/>
              </a:ext>
            </a:extLst>
          </p:cNvPr>
          <p:cNvSpPr txBox="1"/>
          <p:nvPr/>
        </p:nvSpPr>
        <p:spPr>
          <a:xfrm>
            <a:off x="1146395" y="4174394"/>
            <a:ext cx="671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Mount</a:t>
            </a:r>
            <a:endParaRPr kumimoji="1" lang="zh-SG" altLang="en-US" sz="1200" b="1" dirty="0"/>
          </a:p>
        </p:txBody>
      </p:sp>
      <p:sp>
        <p:nvSpPr>
          <p:cNvPr id="522" name="左弧形箭头 521">
            <a:extLst>
              <a:ext uri="{FF2B5EF4-FFF2-40B4-BE49-F238E27FC236}">
                <a16:creationId xmlns:a16="http://schemas.microsoft.com/office/drawing/2014/main" id="{08824E03-4C9E-C4E7-5EA3-41125A4C6EA8}"/>
              </a:ext>
            </a:extLst>
          </p:cNvPr>
          <p:cNvSpPr/>
          <p:nvPr/>
        </p:nvSpPr>
        <p:spPr>
          <a:xfrm>
            <a:off x="1432667" y="3166694"/>
            <a:ext cx="235850" cy="385900"/>
          </a:xfrm>
          <a:prstGeom prst="curvedLef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04A2D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523" name="文本框 522">
            <a:extLst>
              <a:ext uri="{FF2B5EF4-FFF2-40B4-BE49-F238E27FC236}">
                <a16:creationId xmlns:a16="http://schemas.microsoft.com/office/drawing/2014/main" id="{1F783B1E-A611-4900-3038-534B27EF7A64}"/>
              </a:ext>
            </a:extLst>
          </p:cNvPr>
          <p:cNvSpPr txBox="1"/>
          <p:nvPr/>
        </p:nvSpPr>
        <p:spPr>
          <a:xfrm>
            <a:off x="1626109" y="3232458"/>
            <a:ext cx="5469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 err="1"/>
              <a:t>RSync</a:t>
            </a:r>
            <a:endParaRPr kumimoji="1" lang="zh-SG" altLang="en-US" sz="1000" b="1" dirty="0"/>
          </a:p>
        </p:txBody>
      </p:sp>
      <p:cxnSp>
        <p:nvCxnSpPr>
          <p:cNvPr id="524" name="直线箭头连接符 523">
            <a:extLst>
              <a:ext uri="{FF2B5EF4-FFF2-40B4-BE49-F238E27FC236}">
                <a16:creationId xmlns:a16="http://schemas.microsoft.com/office/drawing/2014/main" id="{82D29D66-1D8D-DCE6-7920-2576C59359DF}"/>
              </a:ext>
            </a:extLst>
          </p:cNvPr>
          <p:cNvCxnSpPr>
            <a:cxnSpLocks/>
            <a:stCxn id="48" idx="2"/>
            <a:endCxn id="536" idx="0"/>
          </p:cNvCxnSpPr>
          <p:nvPr/>
        </p:nvCxnSpPr>
        <p:spPr>
          <a:xfrm flipH="1">
            <a:off x="8499583" y="2005841"/>
            <a:ext cx="1" cy="335776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直线箭头连接符 526">
            <a:extLst>
              <a:ext uri="{FF2B5EF4-FFF2-40B4-BE49-F238E27FC236}">
                <a16:creationId xmlns:a16="http://schemas.microsoft.com/office/drawing/2014/main" id="{9C19EBDE-BCA6-9292-3DD9-14449CCAC822}"/>
              </a:ext>
            </a:extLst>
          </p:cNvPr>
          <p:cNvCxnSpPr>
            <a:cxnSpLocks/>
            <a:stCxn id="50" idx="2"/>
            <a:endCxn id="558" idx="0"/>
          </p:cNvCxnSpPr>
          <p:nvPr/>
        </p:nvCxnSpPr>
        <p:spPr>
          <a:xfrm flipH="1">
            <a:off x="10369829" y="2005841"/>
            <a:ext cx="1" cy="335776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1" name="文本框 530">
            <a:extLst>
              <a:ext uri="{FF2B5EF4-FFF2-40B4-BE49-F238E27FC236}">
                <a16:creationId xmlns:a16="http://schemas.microsoft.com/office/drawing/2014/main" id="{9D2E384C-B1D7-F5FE-7E69-7BB4B81FB703}"/>
              </a:ext>
            </a:extLst>
          </p:cNvPr>
          <p:cNvSpPr txBox="1"/>
          <p:nvPr/>
        </p:nvSpPr>
        <p:spPr>
          <a:xfrm>
            <a:off x="8484500" y="3166694"/>
            <a:ext cx="463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/>
              <a:t>Data</a:t>
            </a:r>
            <a:br>
              <a:rPr kumimoji="1" lang="en-US" altLang="zh-SG" sz="1000" b="1" dirty="0"/>
            </a:br>
            <a:r>
              <a:rPr kumimoji="1" lang="en-US" altLang="zh-SG" sz="1000" b="1" dirty="0"/>
              <a:t>Sync</a:t>
            </a:r>
            <a:endParaRPr kumimoji="1" lang="zh-SG" altLang="en-US" sz="1000" b="1" dirty="0"/>
          </a:p>
        </p:txBody>
      </p:sp>
      <p:sp>
        <p:nvSpPr>
          <p:cNvPr id="532" name="文本框 531">
            <a:extLst>
              <a:ext uri="{FF2B5EF4-FFF2-40B4-BE49-F238E27FC236}">
                <a16:creationId xmlns:a16="http://schemas.microsoft.com/office/drawing/2014/main" id="{96F71DA3-4B95-AF30-516B-9A9EE22127F1}"/>
              </a:ext>
            </a:extLst>
          </p:cNvPr>
          <p:cNvSpPr txBox="1"/>
          <p:nvPr/>
        </p:nvSpPr>
        <p:spPr>
          <a:xfrm>
            <a:off x="10356291" y="3166694"/>
            <a:ext cx="463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/>
              <a:t>Data</a:t>
            </a:r>
            <a:br>
              <a:rPr kumimoji="1" lang="en-US" altLang="zh-SG" sz="1000" b="1" dirty="0"/>
            </a:br>
            <a:r>
              <a:rPr kumimoji="1" lang="en-US" altLang="zh-SG" sz="1000" b="1" dirty="0"/>
              <a:t>Sync</a:t>
            </a:r>
            <a:endParaRPr kumimoji="1" lang="zh-SG" altLang="en-US" sz="1000" b="1" dirty="0"/>
          </a:p>
        </p:txBody>
      </p:sp>
      <p:pic>
        <p:nvPicPr>
          <p:cNvPr id="533" name="图片 532">
            <a:extLst>
              <a:ext uri="{FF2B5EF4-FFF2-40B4-BE49-F238E27FC236}">
                <a16:creationId xmlns:a16="http://schemas.microsoft.com/office/drawing/2014/main" id="{285479E8-520B-B270-C472-30196BA758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7310" y="1425234"/>
            <a:ext cx="529313" cy="529313"/>
          </a:xfrm>
          <a:prstGeom prst="rect">
            <a:avLst/>
          </a:prstGeom>
        </p:spPr>
      </p:pic>
      <p:sp>
        <p:nvSpPr>
          <p:cNvPr id="534" name="圆柱体 533">
            <a:extLst>
              <a:ext uri="{FF2B5EF4-FFF2-40B4-BE49-F238E27FC236}">
                <a16:creationId xmlns:a16="http://schemas.microsoft.com/office/drawing/2014/main" id="{B9D55E32-B5EB-8DD8-DE5A-1B9DAF5008F9}"/>
              </a:ext>
            </a:extLst>
          </p:cNvPr>
          <p:cNvSpPr/>
          <p:nvPr/>
        </p:nvSpPr>
        <p:spPr>
          <a:xfrm>
            <a:off x="2737520" y="5260464"/>
            <a:ext cx="539103" cy="414341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/>
              <a:t>MySQL</a:t>
            </a:r>
            <a:endParaRPr kumimoji="1" lang="zh-SG" altLang="en-US" sz="1000" b="1" dirty="0"/>
          </a:p>
        </p:txBody>
      </p:sp>
      <p:pic>
        <p:nvPicPr>
          <p:cNvPr id="536" name="图片 535">
            <a:extLst>
              <a:ext uri="{FF2B5EF4-FFF2-40B4-BE49-F238E27FC236}">
                <a16:creationId xmlns:a16="http://schemas.microsoft.com/office/drawing/2014/main" id="{D72F0A40-9CA3-AC6C-B713-8656043EA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3010" y="5363601"/>
            <a:ext cx="313146" cy="303361"/>
          </a:xfrm>
          <a:prstGeom prst="rect">
            <a:avLst/>
          </a:prstGeom>
        </p:spPr>
      </p:pic>
      <p:cxnSp>
        <p:nvCxnSpPr>
          <p:cNvPr id="540" name="直线箭头连接符 539">
            <a:extLst>
              <a:ext uri="{FF2B5EF4-FFF2-40B4-BE49-F238E27FC236}">
                <a16:creationId xmlns:a16="http://schemas.microsoft.com/office/drawing/2014/main" id="{0950746A-D0A9-7783-72A5-92B94C5FEAB0}"/>
              </a:ext>
            </a:extLst>
          </p:cNvPr>
          <p:cNvCxnSpPr>
            <a:cxnSpLocks/>
            <a:stCxn id="496" idx="3"/>
            <a:endCxn id="536" idx="1"/>
          </p:cNvCxnSpPr>
          <p:nvPr/>
        </p:nvCxnSpPr>
        <p:spPr>
          <a:xfrm flipV="1">
            <a:off x="8049601" y="5515282"/>
            <a:ext cx="293409" cy="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7" name="图片 556">
            <a:extLst>
              <a:ext uri="{FF2B5EF4-FFF2-40B4-BE49-F238E27FC236}">
                <a16:creationId xmlns:a16="http://schemas.microsoft.com/office/drawing/2014/main" id="{89B902A5-EC6B-0DE0-CF76-67C1F63063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05146" y="5363604"/>
            <a:ext cx="313146" cy="303358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EAC40946-62E7-BBC4-608A-199D073B90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13256" y="5363601"/>
            <a:ext cx="313146" cy="303361"/>
          </a:xfrm>
          <a:prstGeom prst="rect">
            <a:avLst/>
          </a:prstGeom>
        </p:spPr>
      </p:pic>
      <p:cxnSp>
        <p:nvCxnSpPr>
          <p:cNvPr id="565" name="直线箭头连接符 564">
            <a:extLst>
              <a:ext uri="{FF2B5EF4-FFF2-40B4-BE49-F238E27FC236}">
                <a16:creationId xmlns:a16="http://schemas.microsoft.com/office/drawing/2014/main" id="{97A9AE2A-AFC0-B667-D7F2-4436C1FA4ECD}"/>
              </a:ext>
            </a:extLst>
          </p:cNvPr>
          <p:cNvCxnSpPr>
            <a:cxnSpLocks/>
            <a:stCxn id="557" idx="3"/>
            <a:endCxn id="558" idx="1"/>
          </p:cNvCxnSpPr>
          <p:nvPr/>
        </p:nvCxnSpPr>
        <p:spPr>
          <a:xfrm flipV="1">
            <a:off x="9918292" y="5515282"/>
            <a:ext cx="294964" cy="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8" name="文本框 577">
            <a:extLst>
              <a:ext uri="{FF2B5EF4-FFF2-40B4-BE49-F238E27FC236}">
                <a16:creationId xmlns:a16="http://schemas.microsoft.com/office/drawing/2014/main" id="{56727C21-D4BA-FFB7-8489-B9BB9A0ABC15}"/>
              </a:ext>
            </a:extLst>
          </p:cNvPr>
          <p:cNvSpPr txBox="1"/>
          <p:nvPr/>
        </p:nvSpPr>
        <p:spPr>
          <a:xfrm>
            <a:off x="4742835" y="4640284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80" name="文本框 579">
            <a:extLst>
              <a:ext uri="{FF2B5EF4-FFF2-40B4-BE49-F238E27FC236}">
                <a16:creationId xmlns:a16="http://schemas.microsoft.com/office/drawing/2014/main" id="{3D2A10F1-3055-FC41-7363-36503F53AC1D}"/>
              </a:ext>
            </a:extLst>
          </p:cNvPr>
          <p:cNvSpPr txBox="1"/>
          <p:nvPr/>
        </p:nvSpPr>
        <p:spPr>
          <a:xfrm>
            <a:off x="6518429" y="4640283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81" name="文本框 580">
            <a:extLst>
              <a:ext uri="{FF2B5EF4-FFF2-40B4-BE49-F238E27FC236}">
                <a16:creationId xmlns:a16="http://schemas.microsoft.com/office/drawing/2014/main" id="{7959CE8C-857C-C168-8C82-299DF8C9FE17}"/>
              </a:ext>
            </a:extLst>
          </p:cNvPr>
          <p:cNvSpPr txBox="1"/>
          <p:nvPr/>
        </p:nvSpPr>
        <p:spPr>
          <a:xfrm>
            <a:off x="6477435" y="1957517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3" name="文本框 582">
            <a:extLst>
              <a:ext uri="{FF2B5EF4-FFF2-40B4-BE49-F238E27FC236}">
                <a16:creationId xmlns:a16="http://schemas.microsoft.com/office/drawing/2014/main" id="{C06E0CE4-4173-B778-13C8-116275DBAB33}"/>
              </a:ext>
            </a:extLst>
          </p:cNvPr>
          <p:cNvSpPr txBox="1"/>
          <p:nvPr/>
        </p:nvSpPr>
        <p:spPr>
          <a:xfrm>
            <a:off x="4710225" y="1964554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4" name="文本框 583">
            <a:extLst>
              <a:ext uri="{FF2B5EF4-FFF2-40B4-BE49-F238E27FC236}">
                <a16:creationId xmlns:a16="http://schemas.microsoft.com/office/drawing/2014/main" id="{FE671D51-81A5-F931-B631-8C261E57BA41}"/>
              </a:ext>
            </a:extLst>
          </p:cNvPr>
          <p:cNvSpPr txBox="1"/>
          <p:nvPr/>
        </p:nvSpPr>
        <p:spPr>
          <a:xfrm>
            <a:off x="8219380" y="5612069"/>
            <a:ext cx="631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000" b="1" dirty="0"/>
              <a:t>svc</a:t>
            </a:r>
          </a:p>
          <a:p>
            <a:pPr algn="ctr"/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6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9</a:t>
            </a:r>
            <a:endParaRPr kumimoji="1" lang="zh-SG" altLang="en-US" sz="1000" b="1" dirty="0"/>
          </a:p>
        </p:txBody>
      </p:sp>
      <p:sp>
        <p:nvSpPr>
          <p:cNvPr id="587" name="文本框 586">
            <a:extLst>
              <a:ext uri="{FF2B5EF4-FFF2-40B4-BE49-F238E27FC236}">
                <a16:creationId xmlns:a16="http://schemas.microsoft.com/office/drawing/2014/main" id="{35BC5528-997C-7612-08B7-2EC02F925B38}"/>
              </a:ext>
            </a:extLst>
          </p:cNvPr>
          <p:cNvSpPr txBox="1"/>
          <p:nvPr/>
        </p:nvSpPr>
        <p:spPr>
          <a:xfrm>
            <a:off x="2930314" y="1973304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9" name="文本框 588">
            <a:extLst>
              <a:ext uri="{FF2B5EF4-FFF2-40B4-BE49-F238E27FC236}">
                <a16:creationId xmlns:a16="http://schemas.microsoft.com/office/drawing/2014/main" id="{949813AD-D021-05E5-F916-AF1DC9323276}"/>
              </a:ext>
            </a:extLst>
          </p:cNvPr>
          <p:cNvSpPr txBox="1"/>
          <p:nvPr/>
        </p:nvSpPr>
        <p:spPr>
          <a:xfrm>
            <a:off x="2938218" y="4562630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91" name="文本框 590">
            <a:extLst>
              <a:ext uri="{FF2B5EF4-FFF2-40B4-BE49-F238E27FC236}">
                <a16:creationId xmlns:a16="http://schemas.microsoft.com/office/drawing/2014/main" id="{7217B03D-55FC-7B68-4F15-3D76003247A4}"/>
              </a:ext>
            </a:extLst>
          </p:cNvPr>
          <p:cNvSpPr txBox="1"/>
          <p:nvPr/>
        </p:nvSpPr>
        <p:spPr>
          <a:xfrm>
            <a:off x="10080507" y="5612069"/>
            <a:ext cx="631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000" b="1" dirty="0"/>
              <a:t>svc</a:t>
            </a:r>
          </a:p>
          <a:p>
            <a:pPr algn="ctr"/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6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8</a:t>
            </a:r>
            <a:endParaRPr kumimoji="1" lang="zh-SG" alt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444592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F8E49-0E35-B6BE-B955-1306685C57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标题 2">
            <a:extLst>
              <a:ext uri="{FF2B5EF4-FFF2-40B4-BE49-F238E27FC236}">
                <a16:creationId xmlns:a16="http://schemas.microsoft.com/office/drawing/2014/main" id="{20D8F29F-DBF2-1999-7C5C-A0BBA7AF045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Overall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dryrun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test flow</a:t>
            </a:r>
          </a:p>
        </p:txBody>
      </p:sp>
      <p:sp>
        <p:nvSpPr>
          <p:cNvPr id="12" name="燕尾形 11">
            <a:extLst>
              <a:ext uri="{FF2B5EF4-FFF2-40B4-BE49-F238E27FC236}">
                <a16:creationId xmlns:a16="http://schemas.microsoft.com/office/drawing/2014/main" id="{DB394195-F4BF-4F5C-6BA4-7D5B3D2FF5E5}"/>
              </a:ext>
            </a:extLst>
          </p:cNvPr>
          <p:cNvSpPr/>
          <p:nvPr/>
        </p:nvSpPr>
        <p:spPr>
          <a:xfrm>
            <a:off x="233497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CM Installer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" name="燕尾形 12">
            <a:extLst>
              <a:ext uri="{FF2B5EF4-FFF2-40B4-BE49-F238E27FC236}">
                <a16:creationId xmlns:a16="http://schemas.microsoft.com/office/drawing/2014/main" id="{E4FCC03A-686A-5AF9-FC63-3D56A328075E}"/>
              </a:ext>
            </a:extLst>
          </p:cNvPr>
          <p:cNvSpPr/>
          <p:nvPr/>
        </p:nvSpPr>
        <p:spPr>
          <a:xfrm>
            <a:off x="1728509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CM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" name="燕尾形 13">
            <a:extLst>
              <a:ext uri="{FF2B5EF4-FFF2-40B4-BE49-F238E27FC236}">
                <a16:creationId xmlns:a16="http://schemas.microsoft.com/office/drawing/2014/main" id="{88EF9500-3359-F305-C335-97AB4CF28BF3}"/>
              </a:ext>
            </a:extLst>
          </p:cNvPr>
          <p:cNvSpPr/>
          <p:nvPr/>
        </p:nvSpPr>
        <p:spPr>
          <a:xfrm>
            <a:off x="3223519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ateway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" name="燕尾形 14">
            <a:extLst>
              <a:ext uri="{FF2B5EF4-FFF2-40B4-BE49-F238E27FC236}">
                <a16:creationId xmlns:a16="http://schemas.microsoft.com/office/drawing/2014/main" id="{329522EA-85E0-C214-AD63-2B2AE4C3D969}"/>
              </a:ext>
            </a:extLst>
          </p:cNvPr>
          <p:cNvSpPr/>
          <p:nvPr/>
        </p:nvSpPr>
        <p:spPr>
          <a:xfrm>
            <a:off x="471853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aS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6" name="燕尾形 15">
            <a:extLst>
              <a:ext uri="{FF2B5EF4-FFF2-40B4-BE49-F238E27FC236}">
                <a16:creationId xmlns:a16="http://schemas.microsoft.com/office/drawing/2014/main" id="{B0ADD271-9028-3F9C-1FD4-53EA1249EEEB}"/>
              </a:ext>
            </a:extLst>
          </p:cNvPr>
          <p:cNvSpPr/>
          <p:nvPr/>
        </p:nvSpPr>
        <p:spPr>
          <a:xfrm>
            <a:off x="621354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aS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7" name="燕尾形 16">
            <a:extLst>
              <a:ext uri="{FF2B5EF4-FFF2-40B4-BE49-F238E27FC236}">
                <a16:creationId xmlns:a16="http://schemas.microsoft.com/office/drawing/2014/main" id="{AEA68992-2412-71E1-F6B8-332849636FD8}"/>
              </a:ext>
            </a:extLst>
          </p:cNvPr>
          <p:cNvSpPr/>
          <p:nvPr/>
        </p:nvSpPr>
        <p:spPr>
          <a:xfrm>
            <a:off x="770855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配置导出导入</a:t>
            </a:r>
          </a:p>
        </p:txBody>
      </p:sp>
      <p:sp>
        <p:nvSpPr>
          <p:cNvPr id="18" name="燕尾形 17">
            <a:extLst>
              <a:ext uri="{FF2B5EF4-FFF2-40B4-BE49-F238E27FC236}">
                <a16:creationId xmlns:a16="http://schemas.microsoft.com/office/drawing/2014/main" id="{0CDE3B69-F40C-060A-3A73-D8C73818A44B}"/>
              </a:ext>
            </a:extLst>
          </p:cNvPr>
          <p:cNvSpPr/>
          <p:nvPr/>
        </p:nvSpPr>
        <p:spPr>
          <a:xfrm>
            <a:off x="920625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数据同步及修改</a:t>
            </a:r>
          </a:p>
        </p:txBody>
      </p:sp>
      <p:sp>
        <p:nvSpPr>
          <p:cNvPr id="19" name="燕尾形 18">
            <a:extLst>
              <a:ext uri="{FF2B5EF4-FFF2-40B4-BE49-F238E27FC236}">
                <a16:creationId xmlns:a16="http://schemas.microsoft.com/office/drawing/2014/main" id="{43CB7073-FA51-AA5F-584D-91128F587713}"/>
              </a:ext>
            </a:extLst>
          </p:cNvPr>
          <p:cNvSpPr/>
          <p:nvPr/>
        </p:nvSpPr>
        <p:spPr>
          <a:xfrm>
            <a:off x="10698574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环境切换</a:t>
            </a:r>
          </a:p>
        </p:txBody>
      </p: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82AFF997-3FA5-7156-D663-FF774363EFC2}"/>
              </a:ext>
            </a:extLst>
          </p:cNvPr>
          <p:cNvCxnSpPr>
            <a:cxnSpLocks/>
          </p:cNvCxnSpPr>
          <p:nvPr/>
        </p:nvCxnSpPr>
        <p:spPr>
          <a:xfrm>
            <a:off x="1643064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B8AEEA49-2306-D815-EF16-33A7542A48BC}"/>
              </a:ext>
            </a:extLst>
          </p:cNvPr>
          <p:cNvCxnSpPr>
            <a:cxnSpLocks/>
          </p:cNvCxnSpPr>
          <p:nvPr/>
        </p:nvCxnSpPr>
        <p:spPr>
          <a:xfrm>
            <a:off x="3145632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连接符 22">
            <a:extLst>
              <a:ext uri="{FF2B5EF4-FFF2-40B4-BE49-F238E27FC236}">
                <a16:creationId xmlns:a16="http://schemas.microsoft.com/office/drawing/2014/main" id="{E65D22F8-5558-8E31-0E48-3A49FB8F1E75}"/>
              </a:ext>
            </a:extLst>
          </p:cNvPr>
          <p:cNvCxnSpPr>
            <a:cxnSpLocks/>
          </p:cNvCxnSpPr>
          <p:nvPr/>
        </p:nvCxnSpPr>
        <p:spPr>
          <a:xfrm>
            <a:off x="4626769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804E97C0-A9F1-3D0C-92FB-B0453F7B0B4A}"/>
              </a:ext>
            </a:extLst>
          </p:cNvPr>
          <p:cNvCxnSpPr>
            <a:cxnSpLocks/>
          </p:cNvCxnSpPr>
          <p:nvPr/>
        </p:nvCxnSpPr>
        <p:spPr>
          <a:xfrm>
            <a:off x="6096000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连接符 24">
            <a:extLst>
              <a:ext uri="{FF2B5EF4-FFF2-40B4-BE49-F238E27FC236}">
                <a16:creationId xmlns:a16="http://schemas.microsoft.com/office/drawing/2014/main" id="{D62442E3-63B6-079C-A1F6-1DA705A679F3}"/>
              </a:ext>
            </a:extLst>
          </p:cNvPr>
          <p:cNvCxnSpPr>
            <a:cxnSpLocks/>
          </p:cNvCxnSpPr>
          <p:nvPr/>
        </p:nvCxnSpPr>
        <p:spPr>
          <a:xfrm>
            <a:off x="7620000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线连接符 25">
            <a:extLst>
              <a:ext uri="{FF2B5EF4-FFF2-40B4-BE49-F238E27FC236}">
                <a16:creationId xmlns:a16="http://schemas.microsoft.com/office/drawing/2014/main" id="{FC0B7620-529C-ED85-A6C3-F5805FD5E966}"/>
              </a:ext>
            </a:extLst>
          </p:cNvPr>
          <p:cNvCxnSpPr>
            <a:cxnSpLocks/>
          </p:cNvCxnSpPr>
          <p:nvPr/>
        </p:nvCxnSpPr>
        <p:spPr>
          <a:xfrm>
            <a:off x="9129712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B1C869E9-F3F3-B74E-3821-2EDC08764483}"/>
              </a:ext>
            </a:extLst>
          </p:cNvPr>
          <p:cNvCxnSpPr>
            <a:cxnSpLocks/>
          </p:cNvCxnSpPr>
          <p:nvPr/>
        </p:nvCxnSpPr>
        <p:spPr>
          <a:xfrm>
            <a:off x="10632281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E04AEFCC-9A41-DB6F-4562-FD2BD8EFA210}"/>
              </a:ext>
            </a:extLst>
          </p:cNvPr>
          <p:cNvSpPr txBox="1"/>
          <p:nvPr/>
        </p:nvSpPr>
        <p:spPr>
          <a:xfrm>
            <a:off x="4746150" y="1849696"/>
            <a:ext cx="631904" cy="2185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CK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rika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ook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eeper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MQ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cache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QMDB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542E721C-0F98-B62B-CEFD-D3E6FB011C59}"/>
              </a:ext>
            </a:extLst>
          </p:cNvPr>
          <p:cNvSpPr txBox="1"/>
          <p:nvPr/>
        </p:nvSpPr>
        <p:spPr>
          <a:xfrm>
            <a:off x="1773160" y="1699677"/>
            <a:ext cx="3914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SGP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WDP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6A5B0C22-C07E-CD42-E11E-C0DF7D0470DB}"/>
              </a:ext>
            </a:extLst>
          </p:cNvPr>
          <p:cNvSpPr txBox="1"/>
          <p:nvPr/>
        </p:nvSpPr>
        <p:spPr>
          <a:xfrm>
            <a:off x="3199266" y="1699677"/>
            <a:ext cx="12346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Gateway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Gateway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96D4C2D-EB53-8B21-CD2C-CBF24A7CF660}"/>
              </a:ext>
            </a:extLst>
          </p:cNvPr>
          <p:cNvSpPr txBox="1"/>
          <p:nvPr/>
        </p:nvSpPr>
        <p:spPr>
          <a:xfrm>
            <a:off x="6102267" y="1699676"/>
            <a:ext cx="11063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BSS Application Setup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OSS Application Setup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4E5F8D7-1231-2511-1FE5-B7187C97F0D7}"/>
              </a:ext>
            </a:extLst>
          </p:cNvPr>
          <p:cNvSpPr txBox="1"/>
          <p:nvPr/>
        </p:nvSpPr>
        <p:spPr>
          <a:xfrm>
            <a:off x="7670551" y="1700677"/>
            <a:ext cx="80021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网关规则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业务环境变量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应用配置文件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中间件配置？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CC9862C-D36D-82A9-8BD7-0B224BFC69CE}"/>
              </a:ext>
            </a:extLst>
          </p:cNvPr>
          <p:cNvSpPr txBox="1"/>
          <p:nvPr/>
        </p:nvSpPr>
        <p:spPr>
          <a:xfrm>
            <a:off x="9114506" y="1699676"/>
            <a:ext cx="131318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K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QMDB 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数据库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业务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MySQL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cache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审核规则，拨测探针同步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C95E49A-10AA-49FA-DE51-DFA0031B9289}"/>
              </a:ext>
            </a:extLst>
          </p:cNvPr>
          <p:cNvSpPr txBox="1"/>
          <p:nvPr/>
        </p:nvSpPr>
        <p:spPr>
          <a:xfrm>
            <a:off x="10709231" y="1684288"/>
            <a:ext cx="13238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修改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point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的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URL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指到 新环境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新环境 连接去到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新环境连接去到</a:t>
            </a: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</a:p>
        </p:txBody>
      </p:sp>
    </p:spTree>
    <p:extLst>
      <p:ext uri="{BB962C8B-B14F-4D97-AF65-F5344CB8AC3E}">
        <p14:creationId xmlns:p14="http://schemas.microsoft.com/office/powerpoint/2010/main" val="2370674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056166-91D1-9BDE-8027-C1D906E09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7330EB8D-DF76-A4EA-F99D-FAE07E2AC9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529360"/>
              </p:ext>
            </p:extLst>
          </p:nvPr>
        </p:nvGraphicFramePr>
        <p:xfrm>
          <a:off x="445135" y="1061720"/>
          <a:ext cx="11301730" cy="5029200"/>
        </p:xfrm>
        <a:graphic>
          <a:graphicData uri="http://schemas.openxmlformats.org/drawingml/2006/table">
            <a:tbl>
              <a:tblPr/>
              <a:tblGrid>
                <a:gridCol w="5910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91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165">
                <a:tc>
                  <a:txBody>
                    <a:bodyPr/>
                    <a:lstStyle/>
                    <a:p>
                      <a:pPr indent="0" algn="ctr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200" b="1" spc="12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sourc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FFFFFF"/>
                      </a:solidFill>
                      <a:prstDash val="dot"/>
                    </a:lnR>
                    <a:lnT w="19050" cap="rnd">
                      <a:solidFill>
                        <a:srgbClr val="848587"/>
                      </a:solidFill>
                      <a:prstDash val="solid"/>
                    </a:lnT>
                    <a:lnB w="19050">
                      <a:solidFill>
                        <a:srgbClr val="848587"/>
                      </a:solidFill>
                      <a:prstDash val="solid"/>
                    </a:lnB>
                    <a:solidFill>
                      <a:srgbClr val="848587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200" b="1" spc="12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erbs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FFFFFF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19050" cap="rnd">
                      <a:solidFill>
                        <a:srgbClr val="848587"/>
                      </a:solidFill>
                      <a:prstDash val="solid"/>
                    </a:lnT>
                    <a:lnB w="19050">
                      <a:solidFill>
                        <a:srgbClr val="848587"/>
                      </a:solidFill>
                      <a:prstDash val="solid"/>
                    </a:lnB>
                    <a:solidFill>
                      <a:srgbClr val="8485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eployments, deployments/scale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19050">
                      <a:solidFill>
                        <a:srgbClr val="848587"/>
                      </a:solidFill>
                      <a:prstDash val="solid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19050">
                      <a:solidFill>
                        <a:srgbClr val="848587"/>
                      </a:solidFill>
                      <a:prstDash val="solid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vic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watch, list, update, delete, patch, cre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ob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onjob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 err="1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plicasets</a:t>
                      </a:r>
                      <a:endParaRPr lang="en-US" altLang="zh-CN" sz="1000" b="0" spc="60" dirty="0">
                        <a:solidFill>
                          <a:srgbClr val="40404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ndpoints, configmap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omponentstatus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/attach, pods/exec, pods/</a:t>
                      </a:r>
                      <a:r>
                        <a:rPr lang="en-US" altLang="zh-CN" sz="1000" b="0" spc="60" dirty="0" err="1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rtforward</a:t>
                      </a: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pods/proxy, secrets, services/proxy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466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indings, events, limitranges, namespaces/status, pods/log, pods/status, replicationcontrollers/status, resourcequotas, resourcequotas/status, configmap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viceaccoun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emonsets, statefulsets, statefulsets/scale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ngress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cre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create, delete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disruptionbudge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ersistentvolumeclaim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19050" cap="rnd">
                      <a:solidFill>
                        <a:srgbClr val="848587"/>
                      </a:solidFill>
                      <a:prstDash val="soli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19050" cap="rnd">
                      <a:solidFill>
                        <a:srgbClr val="848587"/>
                      </a:solidFill>
                      <a:prstDash val="soli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451" name="标题 2">
            <a:extLst>
              <a:ext uri="{FF2B5EF4-FFF2-40B4-BE49-F238E27FC236}">
                <a16:creationId xmlns:a16="http://schemas.microsoft.com/office/drawing/2014/main" id="{877153E6-86AD-B90C-240B-9F98DBD5CA04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SG" altLang="zh-SG" dirty="0"/>
              <a:t>Required Permissions for AKS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914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889*395"/>
  <p:tag name="TABLE_ENDDRAG_RECT" val="36*83*889*396"/>
  <p:tag name="TABLE_SKINIDX" val="-1"/>
  <p:tag name="TABLE_COLORIDX" val="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db71f8a-bda5-4bd7-afda-ba95628404e7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ingtel Red Base">
  <a:themeElements>
    <a:clrScheme name="Primary Red Base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810F25"/>
      </a:accent1>
      <a:accent2>
        <a:srgbClr val="D61035"/>
      </a:accent2>
      <a:accent3>
        <a:srgbClr val="EC1C3E"/>
      </a:accent3>
      <a:accent4>
        <a:srgbClr val="1D3444"/>
      </a:accent4>
      <a:accent5>
        <a:srgbClr val="8589A1"/>
      </a:accent5>
      <a:accent6>
        <a:srgbClr val="C0C2C4"/>
      </a:accent6>
      <a:hlink>
        <a:srgbClr val="00B0F0"/>
      </a:hlink>
      <a:folHlink>
        <a:srgbClr val="BDBDBD"/>
      </a:folHlink>
    </a:clrScheme>
    <a:fontScheme name="Singt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ngtel Red Base" id="{4C23AAE4-FB52-4A58-82C0-DD581F7D8CBC}" vid="{5BC50E5E-38C1-445A-BD43-8C037BB283C4}"/>
    </a:ext>
  </a:extLst>
</a:theme>
</file>

<file path=ppt/theme/theme3.xml><?xml version="1.0" encoding="utf-8"?>
<a:theme xmlns:a="http://schemas.openxmlformats.org/drawingml/2006/main" name="1_PPT Template CN-16X9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477FF"/>
        </a:solidFill>
        <a:ln>
          <a:noFill/>
        </a:ln>
        <a:effectLst>
          <a:outerShdw blurRad="1270000" dist="254000" dir="16200000" rotWithShape="0">
            <a:srgbClr val="0584F3">
              <a:alpha val="20000"/>
            </a:srgbClr>
          </a:outerShdw>
        </a:effectLst>
      </a:spPr>
      <a:bodyPr wrap="square" rtlCol="0" anchor="ctr">
        <a:noAutofit/>
      </a:bodyPr>
      <a:lstStyle>
        <a:defPPr algn="ctr">
          <a:defRPr kumimoji="1" sz="1600" dirty="0">
            <a:solidFill>
              <a:schemeClr val="lt1"/>
            </a:solidFill>
            <a:latin typeface="Calibri Light" panose="020F0302020204030204" pitchFamily="34" charset="0"/>
            <a:ea typeface="微软雅黑" panose="020B0503020204020204" pitchFamily="34" charset="-122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FF0000"/>
          </a:solidFill>
          <a:prstDash val="dash"/>
          <a:headEnd type="none" w="med" len="med"/>
          <a:tailEnd type="arrow" w="med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120000"/>
          </a:lnSpc>
          <a:defRPr kumimoji="1" sz="1600" dirty="0"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33</TotalTime>
  <Words>6954</Words>
  <Application>Microsoft Macintosh PowerPoint</Application>
  <PresentationFormat>宽屏</PresentationFormat>
  <Paragraphs>2324</Paragraphs>
  <Slides>31</Slides>
  <Notes>30</Notes>
  <HiddenSlides>11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8" baseType="lpstr">
      <vt:lpstr>方正兰亭准黑简体</vt:lpstr>
      <vt:lpstr>宋体</vt:lpstr>
      <vt:lpstr>微软雅黑</vt:lpstr>
      <vt:lpstr>DIN Round Offc Pro</vt:lpstr>
      <vt:lpstr>Roboto Bold</vt:lpstr>
      <vt:lpstr>Aptos</vt:lpstr>
      <vt:lpstr>Aptos Display</vt:lpstr>
      <vt:lpstr>Arial</vt:lpstr>
      <vt:lpstr>Calibri</vt:lpstr>
      <vt:lpstr>Calibri Light</vt:lpstr>
      <vt:lpstr>Roboto</vt:lpstr>
      <vt:lpstr>Segoe UI</vt:lpstr>
      <vt:lpstr>Wingdings</vt:lpstr>
      <vt:lpstr>Office 主题​​</vt:lpstr>
      <vt:lpstr>Singtel Red Base</vt:lpstr>
      <vt:lpstr>1_PPT Template CN-16X9</vt:lpstr>
      <vt:lpstr>think-cell Slide</vt:lpstr>
      <vt:lpstr>Project Fusion - Phase2 AKS Integration Environment Planning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V</dc:creator>
  <cp:lastModifiedBy>LV</cp:lastModifiedBy>
  <cp:revision>126</cp:revision>
  <dcterms:created xsi:type="dcterms:W3CDTF">2025-08-11T15:10:30Z</dcterms:created>
  <dcterms:modified xsi:type="dcterms:W3CDTF">2025-11-20T03:17:54Z</dcterms:modified>
</cp:coreProperties>
</file>